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drawings/drawing1.xml" ContentType="application/vnd.openxmlformats-officedocument.drawingml.chartshapes+xml"/>
  <Override PartName="/ppt/media/image15.svg" ContentType="image/svg+xml"/>
  <Override PartName="/ppt/media/image17.svg" ContentType="image/svg+xml"/>
  <Override PartName="/ppt/media/image19.svg" ContentType="image/svg+xml"/>
  <Override PartName="/ppt/media/image21.svg" ContentType="image/svg+xml"/>
  <Override PartName="/ppt/media/image23.svg" ContentType="image/svg+xml"/>
  <Override PartName="/ppt/media/image25.svg" ContentType="image/svg+xml"/>
  <Override PartName="/ppt/media/image27.svg" ContentType="image/svg+xml"/>
  <Override PartName="/ppt/media/image29.svg" ContentType="image/svg+xml"/>
  <Override PartName="/ppt/media/image31.svg" ContentType="image/svg+xml"/>
  <Override PartName="/ppt/media/image33.svg" ContentType="image/svg+xml"/>
  <Override PartName="/ppt/media/image35.svg" ContentType="image/svg+xml"/>
  <Override PartName="/ppt/media/image37.svg" ContentType="image/svg+xml"/>
  <Override PartName="/ppt/media/image39.svg" ContentType="image/svg+xml"/>
  <Override PartName="/ppt/media/image4.svg" ContentType="image/svg+xml"/>
  <Override PartName="/ppt/media/image41.svg" ContentType="image/svg+xml"/>
  <Override PartName="/ppt/media/image6.svg" ContentType="image/svg+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
  </p:notesMasterIdLst>
  <p:sldIdLst>
    <p:sldId id="259" r:id="rId2"/>
    <p:sldId id="26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F14C3C-EE5B-4F27-99C7-7533D2485734}">
          <p14:sldIdLst>
            <p14:sldId id="259"/>
            <p14:sldId id="262"/>
          </p14:sldIdLst>
        </p14:section>
      </p14:sectionLst>
    </p:ext>
    <p:ext uri="{EFAFB233-063F-42B5-8137-9DF3F51BA10A}">
      <p15:sldGuideLst xmlns:p15="http://schemas.microsoft.com/office/powerpoint/2012/main">
        <p15:guide id="1" pos="144" userDrawn="1">
          <p15:clr>
            <a:srgbClr val="A4A3A4"/>
          </p15:clr>
        </p15:guide>
        <p15:guide id="2" orient="horz"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6004"/>
    <a:srgbClr val="4E7039"/>
    <a:srgbClr val="338B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113D21-A4F0-4C83-A698-9B262FFC7BA6}" v="1651" dt="2025-10-10T15:13:13.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5" autoAdjust="0"/>
    <p:restoredTop sz="94660"/>
  </p:normalViewPr>
  <p:slideViewPr>
    <p:cSldViewPr snapToGrid="0">
      <p:cViewPr varScale="1">
        <p:scale>
          <a:sx n="67" d="100"/>
          <a:sy n="67" d="100"/>
        </p:scale>
        <p:origin x="2634" y="90"/>
      </p:cViewPr>
      <p:guideLst>
        <p:guide pos="144"/>
        <p:guide orient="horz"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ortfolio return USD</c:v>
                </c:pt>
              </c:strCache>
            </c:strRef>
          </c:tx>
          <c:spPr>
            <a:ln w="12700" cap="rnd">
              <a:solidFill>
                <a:srgbClr val="92D050"/>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B$2:$B$1487</c:f>
              <c:numCache>
                <c:formatCode>General</c:formatCode>
                <c:ptCount val="1486"/>
                <c:pt idx="0">
                  <c:v>0.0</c:v>
                </c:pt>
                <c:pt idx="1">
                  <c:v>-0.00785835729466183</c:v>
                </c:pt>
                <c:pt idx="2">
                  <c:v>-0.0207939742467808</c:v>
                </c:pt>
                <c:pt idx="3">
                  <c:v>-0.025476184523065402</c:v>
                </c:pt>
                <c:pt idx="4">
                  <c:v>-0.0251818977372172</c:v>
                </c:pt>
                <c:pt idx="5">
                  <c:v>-0.0251818977372172</c:v>
                </c:pt>
                <c:pt idx="6">
                  <c:v>-0.0251818977372172</c:v>
                </c:pt>
                <c:pt idx="7">
                  <c:v>-0.0350517564695587</c:v>
                </c:pt>
                <c:pt idx="8">
                  <c:v>-0.0392361545193149</c:v>
                </c:pt>
                <c:pt idx="9">
                  <c:v>-0.0329106138267283</c:v>
                </c:pt>
                <c:pt idx="10">
                  <c:v>-0.0408946118264783</c:v>
                </c:pt>
                <c:pt idx="11">
                  <c:v>-0.055104513064133</c:v>
                </c:pt>
                <c:pt idx="12">
                  <c:v>-0.055104513064133</c:v>
                </c:pt>
                <c:pt idx="13">
                  <c:v>-0.055104513064133</c:v>
                </c:pt>
                <c:pt idx="14">
                  <c:v>-0.0832657832229029</c:v>
                </c:pt>
                <c:pt idx="15">
                  <c:v>-0.08245443180397549</c:v>
                </c:pt>
                <c:pt idx="16">
                  <c:v>-0.067043005375672</c:v>
                </c:pt>
                <c:pt idx="17">
                  <c:v>-0.054692711588948596</c:v>
                </c:pt>
                <c:pt idx="18">
                  <c:v>-0.0574114264283035</c:v>
                </c:pt>
                <c:pt idx="19">
                  <c:v>-0.0574114264283035</c:v>
                </c:pt>
                <c:pt idx="20">
                  <c:v>-0.0574114264283035</c:v>
                </c:pt>
                <c:pt idx="21">
                  <c:v>-0.0661256407050881</c:v>
                </c:pt>
                <c:pt idx="22">
                  <c:v>-0.081833604200525</c:v>
                </c:pt>
                <c:pt idx="23">
                  <c:v>-0.0826504563070384</c:v>
                </c:pt>
                <c:pt idx="24">
                  <c:v>-0.086324290536317</c:v>
                </c:pt>
                <c:pt idx="25">
                  <c:v>-0.0822452806600825</c:v>
                </c:pt>
                <c:pt idx="26">
                  <c:v>-0.0822452806600825</c:v>
                </c:pt>
                <c:pt idx="27">
                  <c:v>-0.0822452806600825</c:v>
                </c:pt>
                <c:pt idx="28">
                  <c:v>-0.0974991873984248</c:v>
                </c:pt>
                <c:pt idx="29">
                  <c:v>-0.0869657457182148</c:v>
                </c:pt>
                <c:pt idx="30">
                  <c:v>-0.0923805475684461</c:v>
                </c:pt>
                <c:pt idx="31">
                  <c:v>-0.073956994624328</c:v>
                </c:pt>
                <c:pt idx="32">
                  <c:v>-0.0737954744343043</c:v>
                </c:pt>
                <c:pt idx="33">
                  <c:v>-0.0737954744343043</c:v>
                </c:pt>
                <c:pt idx="34">
                  <c:v>-0.0737954744343043</c:v>
                </c:pt>
                <c:pt idx="35">
                  <c:v>-0.0711551443930491</c:v>
                </c:pt>
                <c:pt idx="36">
                  <c:v>-0.0722230278784848</c:v>
                </c:pt>
                <c:pt idx="37">
                  <c:v>-0.059576447055882</c:v>
                </c:pt>
                <c:pt idx="38">
                  <c:v>-0.044168896112014</c:v>
                </c:pt>
                <c:pt idx="39">
                  <c:v>-0.0207270908863608</c:v>
                </c:pt>
                <c:pt idx="40">
                  <c:v>-0.0207270908863608</c:v>
                </c:pt>
                <c:pt idx="41">
                  <c:v>-0.0207270908863608</c:v>
                </c:pt>
                <c:pt idx="42">
                  <c:v>-0.0141433929241155</c:v>
                </c:pt>
                <c:pt idx="43">
                  <c:v>-0.00552794099262408</c:v>
                </c:pt>
                <c:pt idx="44">
                  <c:v>0.005507688461057631</c:v>
                </c:pt>
                <c:pt idx="45">
                  <c:v>-0.00122377797224653</c:v>
                </c:pt>
                <c:pt idx="46">
                  <c:v>-0.00336579572446556</c:v>
                </c:pt>
                <c:pt idx="47">
                  <c:v>-0.00336579572446556</c:v>
                </c:pt>
                <c:pt idx="48">
                  <c:v>-0.00336579572446556</c:v>
                </c:pt>
                <c:pt idx="49">
                  <c:v>0.006501437679709961</c:v>
                </c:pt>
                <c:pt idx="50">
                  <c:v>0.0107407175896987</c:v>
                </c:pt>
                <c:pt idx="51">
                  <c:v>-0.00713826728341043</c:v>
                </c:pt>
                <c:pt idx="52">
                  <c:v>-0.000158144768096012</c:v>
                </c:pt>
                <c:pt idx="53">
                  <c:v>0.00678172271533942</c:v>
                </c:pt>
                <c:pt idx="54">
                  <c:v>0.00678172271533942</c:v>
                </c:pt>
                <c:pt idx="55">
                  <c:v>0.00678172271533942</c:v>
                </c:pt>
                <c:pt idx="56">
                  <c:v>0.0036755844480560102</c:v>
                </c:pt>
                <c:pt idx="57">
                  <c:v>0.005485810726340789</c:v>
                </c:pt>
                <c:pt idx="58">
                  <c:v>0.00323590448806101</c:v>
                </c:pt>
                <c:pt idx="59">
                  <c:v>0.0221750218777347</c:v>
                </c:pt>
                <c:pt idx="60">
                  <c:v>0.0228597324665583</c:v>
                </c:pt>
                <c:pt idx="61">
                  <c:v>0.0228597324665583</c:v>
                </c:pt>
                <c:pt idx="62">
                  <c:v>0.0228597324665583</c:v>
                </c:pt>
                <c:pt idx="63">
                  <c:v>0.028414676834604302</c:v>
                </c:pt>
                <c:pt idx="64">
                  <c:v>0.027270533816727102</c:v>
                </c:pt>
                <c:pt idx="65">
                  <c:v>0.0101550193774222</c:v>
                </c:pt>
                <c:pt idx="66">
                  <c:v>0.019417552194024298</c:v>
                </c:pt>
                <c:pt idx="67">
                  <c:v>0.0263301662707838</c:v>
                </c:pt>
                <c:pt idx="68">
                  <c:v>0.0263301662707838</c:v>
                </c:pt>
                <c:pt idx="69">
                  <c:v>0.0263301662707838</c:v>
                </c:pt>
                <c:pt idx="70">
                  <c:v>0.019713589198649798</c:v>
                </c:pt>
                <c:pt idx="71">
                  <c:v>0.025503812976622096</c:v>
                </c:pt>
                <c:pt idx="72">
                  <c:v>0.023593199149893704</c:v>
                </c:pt>
                <c:pt idx="73">
                  <c:v>0.020140017502187798</c:v>
                </c:pt>
                <c:pt idx="74">
                  <c:v>0.0157919739967496</c:v>
                </c:pt>
                <c:pt idx="75">
                  <c:v>0.0157919739967496</c:v>
                </c:pt>
                <c:pt idx="76">
                  <c:v>0.0157919739967496</c:v>
                </c:pt>
                <c:pt idx="77">
                  <c:v>0.011686210776347</c:v>
                </c:pt>
                <c:pt idx="78">
                  <c:v>0.00459107388423553</c:v>
                </c:pt>
                <c:pt idx="79">
                  <c:v>-0.0138079759969996</c:v>
                </c:pt>
                <c:pt idx="80">
                  <c:v>-0.012232404050506301</c:v>
                </c:pt>
                <c:pt idx="81">
                  <c:v>-0.043168896112014</c:v>
                </c:pt>
                <c:pt idx="82">
                  <c:v>-0.043168896112014</c:v>
                </c:pt>
                <c:pt idx="83">
                  <c:v>-0.043168896112014</c:v>
                </c:pt>
                <c:pt idx="84">
                  <c:v>-0.0316643330416302</c:v>
                </c:pt>
                <c:pt idx="85">
                  <c:v>-0.05117152144018</c:v>
                </c:pt>
                <c:pt idx="86">
                  <c:v>-0.0574165520690086</c:v>
                </c:pt>
                <c:pt idx="87">
                  <c:v>-0.0467155894486811</c:v>
                </c:pt>
                <c:pt idx="88">
                  <c:v>-0.0663081635204401</c:v>
                </c:pt>
                <c:pt idx="89">
                  <c:v>-0.0663081635204401</c:v>
                </c:pt>
                <c:pt idx="90">
                  <c:v>-0.0663081635204401</c:v>
                </c:pt>
                <c:pt idx="91">
                  <c:v>-0.0636775846980873</c:v>
                </c:pt>
                <c:pt idx="92">
                  <c:v>-0.0307317164645581</c:v>
                </c:pt>
                <c:pt idx="93">
                  <c:v>-0.0221196399549944</c:v>
                </c:pt>
                <c:pt idx="94">
                  <c:v>-0.0324573071633954</c:v>
                </c:pt>
                <c:pt idx="95">
                  <c:v>-0.0367653456682085</c:v>
                </c:pt>
                <c:pt idx="96">
                  <c:v>-0.0367653456682085</c:v>
                </c:pt>
                <c:pt idx="97">
                  <c:v>-0.0367653456682085</c:v>
                </c:pt>
                <c:pt idx="98">
                  <c:v>-0.0482977872234029</c:v>
                </c:pt>
                <c:pt idx="99">
                  <c:v>-0.0663435429428679</c:v>
                </c:pt>
                <c:pt idx="100">
                  <c:v>-0.0570248781097637</c:v>
                </c:pt>
                <c:pt idx="101">
                  <c:v>-0.0629332416552069</c:v>
                </c:pt>
                <c:pt idx="102">
                  <c:v>-0.0750661332666583</c:v>
                </c:pt>
                <c:pt idx="103">
                  <c:v>-0.0750661332666583</c:v>
                </c:pt>
                <c:pt idx="104">
                  <c:v>-0.0750661332666583</c:v>
                </c:pt>
                <c:pt idx="105">
                  <c:v>-0.0938162270283786</c:v>
                </c:pt>
                <c:pt idx="106">
                  <c:v>-0.0707439679959995</c:v>
                </c:pt>
                <c:pt idx="107">
                  <c:v>-0.059377172146518296</c:v>
                </c:pt>
                <c:pt idx="108">
                  <c:v>-0.0488093511688961</c:v>
                </c:pt>
                <c:pt idx="109">
                  <c:v>-0.0494791848981123</c:v>
                </c:pt>
                <c:pt idx="110">
                  <c:v>-0.0494791848981123</c:v>
                </c:pt>
                <c:pt idx="111">
                  <c:v>-0.0494791848981123</c:v>
                </c:pt>
                <c:pt idx="112">
                  <c:v>-0.0409054881860233</c:v>
                </c:pt>
                <c:pt idx="113">
                  <c:v>-0.0485980747593449</c:v>
                </c:pt>
                <c:pt idx="114">
                  <c:v>-0.052422177772221495</c:v>
                </c:pt>
                <c:pt idx="115">
                  <c:v>-0.0534221777722215</c:v>
                </c:pt>
                <c:pt idx="116">
                  <c:v>-0.053419177397174604</c:v>
                </c:pt>
                <c:pt idx="117">
                  <c:v>-0.053419177397174604</c:v>
                </c:pt>
                <c:pt idx="118">
                  <c:v>-0.053419177397174604</c:v>
                </c:pt>
                <c:pt idx="119">
                  <c:v>-0.047924490561320206</c:v>
                </c:pt>
                <c:pt idx="120">
                  <c:v>-0.050874109263658006</c:v>
                </c:pt>
                <c:pt idx="121">
                  <c:v>-0.0735768221027628</c:v>
                </c:pt>
                <c:pt idx="122">
                  <c:v>-0.0789348668583573</c:v>
                </c:pt>
                <c:pt idx="123">
                  <c:v>-0.0857304663082885</c:v>
                </c:pt>
                <c:pt idx="124">
                  <c:v>-0.0857304663082885</c:v>
                </c:pt>
                <c:pt idx="125">
                  <c:v>-0.0857304663082885</c:v>
                </c:pt>
                <c:pt idx="126">
                  <c:v>-0.0904595574446806</c:v>
                </c:pt>
                <c:pt idx="127">
                  <c:v>-0.0652192774096762</c:v>
                </c:pt>
                <c:pt idx="128">
                  <c:v>-0.041418927365920705</c:v>
                </c:pt>
                <c:pt idx="129">
                  <c:v>-0.055172271533941705</c:v>
                </c:pt>
                <c:pt idx="130">
                  <c:v>-0.0622972871608951</c:v>
                </c:pt>
                <c:pt idx="131">
                  <c:v>-0.0622972871608951</c:v>
                </c:pt>
                <c:pt idx="132">
                  <c:v>-0.0622972871608951</c:v>
                </c:pt>
                <c:pt idx="133">
                  <c:v>-0.06196512064008</c:v>
                </c:pt>
                <c:pt idx="134">
                  <c:v>-0.0811726465808226</c:v>
                </c:pt>
                <c:pt idx="135">
                  <c:v>-0.0813361670208776</c:v>
                </c:pt>
                <c:pt idx="136">
                  <c:v>-0.0826870858857357</c:v>
                </c:pt>
                <c:pt idx="137">
                  <c:v>-0.110029253656707</c:v>
                </c:pt>
                <c:pt idx="138">
                  <c:v>-0.110029253656707</c:v>
                </c:pt>
                <c:pt idx="139">
                  <c:v>-0.110029253656707</c:v>
                </c:pt>
                <c:pt idx="140">
                  <c:v>-0.124422177772222</c:v>
                </c:pt>
                <c:pt idx="141">
                  <c:v>-0.14111638954869402</c:v>
                </c:pt>
                <c:pt idx="142">
                  <c:v>-0.139380547568446</c:v>
                </c:pt>
                <c:pt idx="143">
                  <c:v>-0.148109513689211</c:v>
                </c:pt>
                <c:pt idx="144">
                  <c:v>-0.137767970996375</c:v>
                </c:pt>
                <c:pt idx="145">
                  <c:v>-0.137767970996375</c:v>
                </c:pt>
                <c:pt idx="146">
                  <c:v>-0.137767970996375</c:v>
                </c:pt>
                <c:pt idx="147">
                  <c:v>-0.113366295786973</c:v>
                </c:pt>
                <c:pt idx="148">
                  <c:v>-0.101318289786223</c:v>
                </c:pt>
                <c:pt idx="149">
                  <c:v>-0.0972930366295787</c:v>
                </c:pt>
                <c:pt idx="150">
                  <c:v>-0.120311413926741</c:v>
                </c:pt>
                <c:pt idx="151">
                  <c:v>-0.10863570446305801</c:v>
                </c:pt>
                <c:pt idx="152">
                  <c:v>-0.10863570446305801</c:v>
                </c:pt>
                <c:pt idx="153">
                  <c:v>-0.10863570446305801</c:v>
                </c:pt>
                <c:pt idx="154">
                  <c:v>-0.10484735591949</c:v>
                </c:pt>
                <c:pt idx="155">
                  <c:v>-0.10007796965074</c:v>
                </c:pt>
                <c:pt idx="156">
                  <c:v>-0.0758160295922362</c:v>
                </c:pt>
                <c:pt idx="157">
                  <c:v>-0.0799896077990861</c:v>
                </c:pt>
                <c:pt idx="158">
                  <c:v>-0.0981340552738101</c:v>
                </c:pt>
                <c:pt idx="159">
                  <c:v>-0.0981340552738101</c:v>
                </c:pt>
                <c:pt idx="160">
                  <c:v>-0.0981340552738101</c:v>
                </c:pt>
                <c:pt idx="161">
                  <c:v>-0.10669824102665199</c:v>
                </c:pt>
                <c:pt idx="162">
                  <c:v>-0.08836177459435661</c:v>
                </c:pt>
                <c:pt idx="163">
                  <c:v>-0.08308991767219</c:v>
                </c:pt>
                <c:pt idx="164">
                  <c:v>-0.11133379721600599</c:v>
                </c:pt>
                <c:pt idx="165">
                  <c:v>-0.126214155459371</c:v>
                </c:pt>
                <c:pt idx="166">
                  <c:v>-0.126214155459371</c:v>
                </c:pt>
                <c:pt idx="167">
                  <c:v>-0.126214155459371</c:v>
                </c:pt>
                <c:pt idx="168">
                  <c:v>-0.133443324097504</c:v>
                </c:pt>
                <c:pt idx="169">
                  <c:v>-0.139628095193945</c:v>
                </c:pt>
                <c:pt idx="170">
                  <c:v>-0.14714780143176</c:v>
                </c:pt>
                <c:pt idx="171">
                  <c:v>-0.142938356480906</c:v>
                </c:pt>
                <c:pt idx="172">
                  <c:v>-0.120660218931918</c:v>
                </c:pt>
                <c:pt idx="173">
                  <c:v>-0.120660218931918</c:v>
                </c:pt>
                <c:pt idx="174">
                  <c:v>-0.120660218931918</c:v>
                </c:pt>
                <c:pt idx="175">
                  <c:v>-0.121908157559512</c:v>
                </c:pt>
                <c:pt idx="176">
                  <c:v>-0.137257989413856</c:v>
                </c:pt>
                <c:pt idx="177">
                  <c:v>-0.129588346002671</c:v>
                </c:pt>
                <c:pt idx="178">
                  <c:v>-0.130086635520272</c:v>
                </c:pt>
                <c:pt idx="179">
                  <c:v>-0.14681942899551198</c:v>
                </c:pt>
                <c:pt idx="180">
                  <c:v>-0.14681942899551198</c:v>
                </c:pt>
                <c:pt idx="181">
                  <c:v>-0.14681942899551198</c:v>
                </c:pt>
                <c:pt idx="182">
                  <c:v>-0.17777651780418802</c:v>
                </c:pt>
                <c:pt idx="183">
                  <c:v>-0.17548719678118002</c:v>
                </c:pt>
                <c:pt idx="184">
                  <c:v>-0.14592174317232598</c:v>
                </c:pt>
                <c:pt idx="185">
                  <c:v>-0.148702533491416</c:v>
                </c:pt>
                <c:pt idx="186">
                  <c:v>-0.16044044473463898</c:v>
                </c:pt>
                <c:pt idx="187">
                  <c:v>-0.16044044473463898</c:v>
                </c:pt>
                <c:pt idx="188">
                  <c:v>-0.16044044473463898</c:v>
                </c:pt>
                <c:pt idx="189">
                  <c:v>-0.177092532255244</c:v>
                </c:pt>
                <c:pt idx="190">
                  <c:v>-0.173433276737247</c:v>
                </c:pt>
                <c:pt idx="191">
                  <c:v>-0.13294079488903</c:v>
                </c:pt>
                <c:pt idx="192">
                  <c:v>-0.118025383775063</c:v>
                </c:pt>
                <c:pt idx="193">
                  <c:v>-0.10608544930353</c:v>
                </c:pt>
                <c:pt idx="194">
                  <c:v>-0.10608544930353</c:v>
                </c:pt>
                <c:pt idx="195">
                  <c:v>-0.10608544930353</c:v>
                </c:pt>
                <c:pt idx="196">
                  <c:v>-0.109185756667088</c:v>
                </c:pt>
                <c:pt idx="197">
                  <c:v>-0.09889641913969481</c:v>
                </c:pt>
                <c:pt idx="198">
                  <c:v>-0.106631893718518</c:v>
                </c:pt>
                <c:pt idx="199">
                  <c:v>-0.09680591790761771</c:v>
                </c:pt>
                <c:pt idx="200">
                  <c:v>-0.0992207930085772</c:v>
                </c:pt>
                <c:pt idx="201">
                  <c:v>-0.0992207930085772</c:v>
                </c:pt>
                <c:pt idx="202">
                  <c:v>-0.0992207930085772</c:v>
                </c:pt>
                <c:pt idx="203">
                  <c:v>-0.0905145735669691</c:v>
                </c:pt>
                <c:pt idx="204">
                  <c:v>-0.072169314386078</c:v>
                </c:pt>
                <c:pt idx="205">
                  <c:v>-0.0733572729705545</c:v>
                </c:pt>
                <c:pt idx="206">
                  <c:v>-0.0871779351941297</c:v>
                </c:pt>
                <c:pt idx="207">
                  <c:v>-0.0820000436847036</c:v>
                </c:pt>
                <c:pt idx="208">
                  <c:v>-0.0820000436847036</c:v>
                </c:pt>
                <c:pt idx="209">
                  <c:v>-0.0820000436847036</c:v>
                </c:pt>
                <c:pt idx="210">
                  <c:v>-0.0749195170450252</c:v>
                </c:pt>
                <c:pt idx="211">
                  <c:v>-0.09300478111469991</c:v>
                </c:pt>
                <c:pt idx="212">
                  <c:v>-0.11344725841249699</c:v>
                </c:pt>
                <c:pt idx="213">
                  <c:v>-0.11460039253255401</c:v>
                </c:pt>
                <c:pt idx="214">
                  <c:v>-0.116794643801062</c:v>
                </c:pt>
                <c:pt idx="215">
                  <c:v>-0.116794643801062</c:v>
                </c:pt>
                <c:pt idx="216">
                  <c:v>-0.116794643801062</c:v>
                </c:pt>
                <c:pt idx="217">
                  <c:v>-0.137053491801311</c:v>
                </c:pt>
                <c:pt idx="218">
                  <c:v>-0.139456689856337</c:v>
                </c:pt>
                <c:pt idx="219">
                  <c:v>-0.125865951767284</c:v>
                </c:pt>
                <c:pt idx="220">
                  <c:v>-0.137066718897589</c:v>
                </c:pt>
                <c:pt idx="221">
                  <c:v>-0.137295919675283</c:v>
                </c:pt>
                <c:pt idx="222">
                  <c:v>-0.137295919675283</c:v>
                </c:pt>
                <c:pt idx="223">
                  <c:v>-0.137295919675283</c:v>
                </c:pt>
                <c:pt idx="224">
                  <c:v>-0.134131026880679</c:v>
                </c:pt>
                <c:pt idx="225">
                  <c:v>-0.12181422350191</c:v>
                </c:pt>
                <c:pt idx="226">
                  <c:v>-0.12184005767432801</c:v>
                </c:pt>
                <c:pt idx="227">
                  <c:v>-0.142900178366298</c:v>
                </c:pt>
                <c:pt idx="228">
                  <c:v>-0.165337673794915</c:v>
                </c:pt>
                <c:pt idx="229">
                  <c:v>-0.165337673794915</c:v>
                </c:pt>
                <c:pt idx="230">
                  <c:v>-0.165337673794915</c:v>
                </c:pt>
                <c:pt idx="231">
                  <c:v>-0.17327207150135798</c:v>
                </c:pt>
                <c:pt idx="232">
                  <c:v>-0.193248293655352</c:v>
                </c:pt>
                <c:pt idx="233">
                  <c:v>-0.187070309663274</c:v>
                </c:pt>
                <c:pt idx="234">
                  <c:v>-0.16220171527342</c:v>
                </c:pt>
                <c:pt idx="235">
                  <c:v>-0.172974151825032</c:v>
                </c:pt>
                <c:pt idx="236">
                  <c:v>-0.172974151825032</c:v>
                </c:pt>
                <c:pt idx="237">
                  <c:v>-0.172974151825032</c:v>
                </c:pt>
                <c:pt idx="238">
                  <c:v>-0.17424343638428097</c:v>
                </c:pt>
                <c:pt idx="239">
                  <c:v>-0.16619939845009502</c:v>
                </c:pt>
                <c:pt idx="240">
                  <c:v>-0.14223985691929</c:v>
                </c:pt>
                <c:pt idx="241">
                  <c:v>-0.163894370250257</c:v>
                </c:pt>
                <c:pt idx="242">
                  <c:v>-0.176720210162354</c:v>
                </c:pt>
                <c:pt idx="243">
                  <c:v>-0.176720210162354</c:v>
                </c:pt>
                <c:pt idx="244">
                  <c:v>-0.176720210162354</c:v>
                </c:pt>
                <c:pt idx="245">
                  <c:v>-0.20960545826363097</c:v>
                </c:pt>
                <c:pt idx="246">
                  <c:v>-0.21144712474697702</c:v>
                </c:pt>
                <c:pt idx="247">
                  <c:v>-0.218979542730594</c:v>
                </c:pt>
                <c:pt idx="248">
                  <c:v>-0.224102562457804</c:v>
                </c:pt>
                <c:pt idx="249">
                  <c:v>-0.195634131146513</c:v>
                </c:pt>
                <c:pt idx="250">
                  <c:v>-0.195634131146513</c:v>
                </c:pt>
                <c:pt idx="251">
                  <c:v>-0.195634131146513</c:v>
                </c:pt>
                <c:pt idx="252">
                  <c:v>-0.19850461771224</c:v>
                </c:pt>
                <c:pt idx="253">
                  <c:v>-0.170119269099446</c:v>
                </c:pt>
                <c:pt idx="254">
                  <c:v>-0.196135004081357</c:v>
                </c:pt>
                <c:pt idx="255">
                  <c:v>-0.197820322153227</c:v>
                </c:pt>
                <c:pt idx="256">
                  <c:v>-0.19452811855694702</c:v>
                </c:pt>
                <c:pt idx="257">
                  <c:v>-0.19452811855694702</c:v>
                </c:pt>
                <c:pt idx="258">
                  <c:v>-0.19452811855694702</c:v>
                </c:pt>
                <c:pt idx="259">
                  <c:v>-0.18118745525690103</c:v>
                </c:pt>
                <c:pt idx="260">
                  <c:v>-0.19203274417473298</c:v>
                </c:pt>
                <c:pt idx="261">
                  <c:v>-0.185926992528736</c:v>
                </c:pt>
                <c:pt idx="262">
                  <c:v>-0.171219288161011</c:v>
                </c:pt>
                <c:pt idx="263">
                  <c:v>-0.146645100000034</c:v>
                </c:pt>
                <c:pt idx="264">
                  <c:v>-0.146645100000034</c:v>
                </c:pt>
                <c:pt idx="265">
                  <c:v>-0.146645100000034</c:v>
                </c:pt>
                <c:pt idx="266">
                  <c:v>-0.139279260760169</c:v>
                </c:pt>
                <c:pt idx="267">
                  <c:v>-0.143179807448552</c:v>
                </c:pt>
                <c:pt idx="268">
                  <c:v>-0.154015899401003</c:v>
                </c:pt>
                <c:pt idx="269">
                  <c:v>-0.137315140299562</c:v>
                </c:pt>
                <c:pt idx="270">
                  <c:v>-0.149478385357478</c:v>
                </c:pt>
                <c:pt idx="271">
                  <c:v>-0.149478385357478</c:v>
                </c:pt>
                <c:pt idx="272">
                  <c:v>-0.149478385357478</c:v>
                </c:pt>
                <c:pt idx="273">
                  <c:v>-0.143846225760251</c:v>
                </c:pt>
                <c:pt idx="274">
                  <c:v>-0.14238700836538398</c:v>
                </c:pt>
                <c:pt idx="275">
                  <c:v>-0.145276095535251</c:v>
                </c:pt>
                <c:pt idx="276">
                  <c:v>-0.164760125036334</c:v>
                </c:pt>
                <c:pt idx="277">
                  <c:v>-0.1830954588358</c:v>
                </c:pt>
                <c:pt idx="278">
                  <c:v>-0.1830954588358</c:v>
                </c:pt>
                <c:pt idx="279">
                  <c:v>-0.1830954588358</c:v>
                </c:pt>
                <c:pt idx="280">
                  <c:v>-0.219499717905322</c:v>
                </c:pt>
                <c:pt idx="281">
                  <c:v>-0.22102011241926298</c:v>
                </c:pt>
                <c:pt idx="282">
                  <c:v>-0.21011757659028</c:v>
                </c:pt>
                <c:pt idx="283">
                  <c:v>-0.237023386807798</c:v>
                </c:pt>
                <c:pt idx="284">
                  <c:v>-0.232485526969913</c:v>
                </c:pt>
                <c:pt idx="285">
                  <c:v>-0.232485526969913</c:v>
                </c:pt>
                <c:pt idx="286">
                  <c:v>-0.232485526969913</c:v>
                </c:pt>
                <c:pt idx="287">
                  <c:v>-0.228192617853814</c:v>
                </c:pt>
                <c:pt idx="288">
                  <c:v>-0.214679278436634</c:v>
                </c:pt>
                <c:pt idx="289">
                  <c:v>-0.224483941606099</c:v>
                </c:pt>
                <c:pt idx="290">
                  <c:v>-0.223219278548208</c:v>
                </c:pt>
                <c:pt idx="291">
                  <c:v>-0.19772014683032801</c:v>
                </c:pt>
                <c:pt idx="292">
                  <c:v>-0.19772014683032801</c:v>
                </c:pt>
                <c:pt idx="293">
                  <c:v>-0.19772014683032801</c:v>
                </c:pt>
                <c:pt idx="294">
                  <c:v>-0.194514536961296</c:v>
                </c:pt>
                <c:pt idx="295">
                  <c:v>-0.209538526767217</c:v>
                </c:pt>
                <c:pt idx="296">
                  <c:v>-0.220536534290979</c:v>
                </c:pt>
                <c:pt idx="297">
                  <c:v>-0.234228377788954</c:v>
                </c:pt>
                <c:pt idx="298">
                  <c:v>-0.23661247497489002</c:v>
                </c:pt>
                <c:pt idx="299">
                  <c:v>-0.23661247497489002</c:v>
                </c:pt>
                <c:pt idx="300">
                  <c:v>-0.23661247497489002</c:v>
                </c:pt>
                <c:pt idx="301">
                  <c:v>-0.238915716653845</c:v>
                </c:pt>
                <c:pt idx="302">
                  <c:v>-0.2440522182261</c:v>
                </c:pt>
                <c:pt idx="303">
                  <c:v>-0.242082971987515</c:v>
                </c:pt>
                <c:pt idx="304">
                  <c:v>-0.220394726171046</c:v>
                </c:pt>
                <c:pt idx="305">
                  <c:v>-0.217800301006056</c:v>
                </c:pt>
                <c:pt idx="306">
                  <c:v>-0.217800301006056</c:v>
                </c:pt>
                <c:pt idx="307">
                  <c:v>-0.217800301006056</c:v>
                </c:pt>
                <c:pt idx="308">
                  <c:v>-0.236003985454413</c:v>
                </c:pt>
                <c:pt idx="309">
                  <c:v>-0.23986535421723298</c:v>
                </c:pt>
                <c:pt idx="310">
                  <c:v>-0.241660864776718</c:v>
                </c:pt>
                <c:pt idx="311">
                  <c:v>-0.247141105914544</c:v>
                </c:pt>
                <c:pt idx="312">
                  <c:v>-0.236612682296702</c:v>
                </c:pt>
                <c:pt idx="313">
                  <c:v>-0.236612682296702</c:v>
                </c:pt>
                <c:pt idx="314">
                  <c:v>-0.236612682296702</c:v>
                </c:pt>
                <c:pt idx="315">
                  <c:v>-0.229574003092293</c:v>
                </c:pt>
                <c:pt idx="316">
                  <c:v>-0.213592601155006</c:v>
                </c:pt>
                <c:pt idx="317">
                  <c:v>-0.204712489609583</c:v>
                </c:pt>
                <c:pt idx="318">
                  <c:v>-0.202251579692017</c:v>
                </c:pt>
                <c:pt idx="319">
                  <c:v>-0.207765199641698</c:v>
                </c:pt>
                <c:pt idx="320">
                  <c:v>-0.207765199641698</c:v>
                </c:pt>
                <c:pt idx="321">
                  <c:v>-0.207765199641698</c:v>
                </c:pt>
                <c:pt idx="322">
                  <c:v>-0.212015607786179</c:v>
                </c:pt>
                <c:pt idx="323">
                  <c:v>-0.221787928752852</c:v>
                </c:pt>
                <c:pt idx="324">
                  <c:v>-0.21019397467828602</c:v>
                </c:pt>
                <c:pt idx="325">
                  <c:v>-0.197691640081072</c:v>
                </c:pt>
                <c:pt idx="326">
                  <c:v>-0.188342877577886</c:v>
                </c:pt>
                <c:pt idx="327">
                  <c:v>-0.188342877577886</c:v>
                </c:pt>
                <c:pt idx="328">
                  <c:v>-0.188342877577886</c:v>
                </c:pt>
                <c:pt idx="329">
                  <c:v>-0.184793009838751</c:v>
                </c:pt>
                <c:pt idx="330">
                  <c:v>-0.191743162629108</c:v>
                </c:pt>
                <c:pt idx="331">
                  <c:v>-0.179475827306668</c:v>
                </c:pt>
                <c:pt idx="332">
                  <c:v>-0.16785367746556498</c:v>
                </c:pt>
                <c:pt idx="333">
                  <c:v>-0.168986483850534</c:v>
                </c:pt>
                <c:pt idx="334">
                  <c:v>-0.168986483850534</c:v>
                </c:pt>
                <c:pt idx="335">
                  <c:v>-0.168986483850534</c:v>
                </c:pt>
                <c:pt idx="336">
                  <c:v>-0.171310043067141</c:v>
                </c:pt>
                <c:pt idx="337">
                  <c:v>-0.178638972809427</c:v>
                </c:pt>
                <c:pt idx="338">
                  <c:v>-0.155849433523529</c:v>
                </c:pt>
                <c:pt idx="339">
                  <c:v>-0.153426670819512</c:v>
                </c:pt>
                <c:pt idx="340">
                  <c:v>-0.144904085740209</c:v>
                </c:pt>
                <c:pt idx="341">
                  <c:v>-0.144904085740209</c:v>
                </c:pt>
                <c:pt idx="342">
                  <c:v>-0.144904085740209</c:v>
                </c:pt>
                <c:pt idx="343">
                  <c:v>-0.145432963684583</c:v>
                </c:pt>
                <c:pt idx="344">
                  <c:v>-0.142617118823556</c:v>
                </c:pt>
                <c:pt idx="345">
                  <c:v>-0.152838809819406</c:v>
                </c:pt>
                <c:pt idx="346">
                  <c:v>-0.15294734278839</c:v>
                </c:pt>
                <c:pt idx="347">
                  <c:v>-0.163262017617266</c:v>
                </c:pt>
                <c:pt idx="348">
                  <c:v>-0.163262017617266</c:v>
                </c:pt>
                <c:pt idx="349">
                  <c:v>-0.163262017617266</c:v>
                </c:pt>
                <c:pt idx="350">
                  <c:v>-0.17724193477408398</c:v>
                </c:pt>
                <c:pt idx="351">
                  <c:v>-0.17841392498166597</c:v>
                </c:pt>
                <c:pt idx="352">
                  <c:v>-0.178551379343532</c:v>
                </c:pt>
                <c:pt idx="353">
                  <c:v>-0.164506052154786</c:v>
                </c:pt>
                <c:pt idx="354">
                  <c:v>-0.184784095000802</c:v>
                </c:pt>
                <c:pt idx="355">
                  <c:v>-0.184784095000802</c:v>
                </c:pt>
                <c:pt idx="356">
                  <c:v>-0.184784095000802</c:v>
                </c:pt>
                <c:pt idx="357">
                  <c:v>-0.189624541024423</c:v>
                </c:pt>
                <c:pt idx="358">
                  <c:v>-0.19788714455051298</c:v>
                </c:pt>
                <c:pt idx="359">
                  <c:v>-0.203576677058329</c:v>
                </c:pt>
                <c:pt idx="360">
                  <c:v>-0.219690764955789</c:v>
                </c:pt>
                <c:pt idx="361">
                  <c:v>-0.221331924425667</c:v>
                </c:pt>
                <c:pt idx="362">
                  <c:v>-0.221331924425667</c:v>
                </c:pt>
                <c:pt idx="363">
                  <c:v>-0.221331924425667</c:v>
                </c:pt>
                <c:pt idx="364">
                  <c:v>-0.228278552745207</c:v>
                </c:pt>
                <c:pt idx="365">
                  <c:v>-0.22952735568442</c:v>
                </c:pt>
                <c:pt idx="366">
                  <c:v>-0.220197459466196</c:v>
                </c:pt>
                <c:pt idx="367">
                  <c:v>-0.216921463841729</c:v>
                </c:pt>
                <c:pt idx="368">
                  <c:v>-0.20338055062344998</c:v>
                </c:pt>
                <c:pt idx="369">
                  <c:v>-0.20338055062344998</c:v>
                </c:pt>
                <c:pt idx="370">
                  <c:v>-0.20338055062344998</c:v>
                </c:pt>
                <c:pt idx="371">
                  <c:v>-0.19336638876218198</c:v>
                </c:pt>
                <c:pt idx="372">
                  <c:v>-0.222324373943392</c:v>
                </c:pt>
                <c:pt idx="373">
                  <c:v>-0.22224300013188</c:v>
                </c:pt>
                <c:pt idx="374">
                  <c:v>-0.235066890860698</c:v>
                </c:pt>
                <c:pt idx="375">
                  <c:v>-0.242947192964042</c:v>
                </c:pt>
                <c:pt idx="376">
                  <c:v>-0.242947192964042</c:v>
                </c:pt>
                <c:pt idx="377">
                  <c:v>-0.242947192964042</c:v>
                </c:pt>
                <c:pt idx="378">
                  <c:v>-0.23786967444752002</c:v>
                </c:pt>
                <c:pt idx="379">
                  <c:v>-0.245064985281476</c:v>
                </c:pt>
                <c:pt idx="380">
                  <c:v>-0.254192120766813</c:v>
                </c:pt>
                <c:pt idx="381">
                  <c:v>-0.266264677246156</c:v>
                </c:pt>
                <c:pt idx="382">
                  <c:v>-0.280549772111369</c:v>
                </c:pt>
                <c:pt idx="383">
                  <c:v>-0.280549772111369</c:v>
                </c:pt>
                <c:pt idx="384">
                  <c:v>-0.280549772111369</c:v>
                </c:pt>
                <c:pt idx="385">
                  <c:v>-0.283897501083054</c:v>
                </c:pt>
                <c:pt idx="386">
                  <c:v>-0.283911909949042</c:v>
                </c:pt>
                <c:pt idx="387">
                  <c:v>-0.276606822215224</c:v>
                </c:pt>
                <c:pt idx="388">
                  <c:v>-0.294850519773446</c:v>
                </c:pt>
                <c:pt idx="389">
                  <c:v>-0.299203448554341</c:v>
                </c:pt>
                <c:pt idx="390">
                  <c:v>-0.299203448554341</c:v>
                </c:pt>
                <c:pt idx="391">
                  <c:v>-0.299203448554341</c:v>
                </c:pt>
                <c:pt idx="392">
                  <c:v>-0.284368017937133</c:v>
                </c:pt>
                <c:pt idx="393">
                  <c:v>-0.263020090876323</c:v>
                </c:pt>
                <c:pt idx="394">
                  <c:v>-0.267111275868598</c:v>
                </c:pt>
                <c:pt idx="395">
                  <c:v>-0.27087437409216497</c:v>
                </c:pt>
                <c:pt idx="396">
                  <c:v>-0.292404951670024</c:v>
                </c:pt>
                <c:pt idx="397">
                  <c:v>-0.292404951670024</c:v>
                </c:pt>
                <c:pt idx="398">
                  <c:v>-0.292404951670024</c:v>
                </c:pt>
                <c:pt idx="399">
                  <c:v>-0.295954819409159</c:v>
                </c:pt>
                <c:pt idx="400">
                  <c:v>-0.304803314378134</c:v>
                </c:pt>
                <c:pt idx="401">
                  <c:v>-0.30808273081251203</c:v>
                </c:pt>
                <c:pt idx="402">
                  <c:v>-0.298629892759316</c:v>
                </c:pt>
                <c:pt idx="403">
                  <c:v>-0.308833339435642</c:v>
                </c:pt>
                <c:pt idx="404">
                  <c:v>-0.308833339435642</c:v>
                </c:pt>
                <c:pt idx="405">
                  <c:v>-0.308833339435642</c:v>
                </c:pt>
                <c:pt idx="406">
                  <c:v>-0.291659318770401</c:v>
                </c:pt>
                <c:pt idx="407">
                  <c:v>-0.286454608321745</c:v>
                </c:pt>
                <c:pt idx="408">
                  <c:v>-0.294199736603164</c:v>
                </c:pt>
                <c:pt idx="409">
                  <c:v>-0.297068966830979</c:v>
                </c:pt>
                <c:pt idx="410">
                  <c:v>-0.28305650014955697</c:v>
                </c:pt>
                <c:pt idx="411">
                  <c:v>-0.28305650014955697</c:v>
                </c:pt>
                <c:pt idx="412">
                  <c:v>-0.28305650014955697</c:v>
                </c:pt>
                <c:pt idx="413">
                  <c:v>-0.286090862201242</c:v>
                </c:pt>
                <c:pt idx="414">
                  <c:v>-0.27624711887007</c:v>
                </c:pt>
                <c:pt idx="415">
                  <c:v>-0.274222828690195</c:v>
                </c:pt>
                <c:pt idx="416">
                  <c:v>-0.281788934586288</c:v>
                </c:pt>
                <c:pt idx="417">
                  <c:v>-0.281308673607009</c:v>
                </c:pt>
                <c:pt idx="418">
                  <c:v>-0.281308673607009</c:v>
                </c:pt>
                <c:pt idx="419">
                  <c:v>-0.281308673607009</c:v>
                </c:pt>
                <c:pt idx="420">
                  <c:v>-0.287016761417068</c:v>
                </c:pt>
                <c:pt idx="421">
                  <c:v>-0.281562020862213</c:v>
                </c:pt>
                <c:pt idx="422">
                  <c:v>-0.294700315120095</c:v>
                </c:pt>
                <c:pt idx="423">
                  <c:v>-0.304228203669514</c:v>
                </c:pt>
                <c:pt idx="424">
                  <c:v>-0.28171087792378097</c:v>
                </c:pt>
                <c:pt idx="425">
                  <c:v>-0.28171087792378097</c:v>
                </c:pt>
                <c:pt idx="426">
                  <c:v>-0.28171087792378097</c:v>
                </c:pt>
                <c:pt idx="427">
                  <c:v>-0.269845021291768</c:v>
                </c:pt>
                <c:pt idx="428">
                  <c:v>-0.257615522200158</c:v>
                </c:pt>
                <c:pt idx="429">
                  <c:v>-0.271302597296439</c:v>
                </c:pt>
                <c:pt idx="430">
                  <c:v>-0.230223645992604</c:v>
                </c:pt>
                <c:pt idx="431">
                  <c:v>-0.212432013647126</c:v>
                </c:pt>
                <c:pt idx="432">
                  <c:v>-0.212432013647126</c:v>
                </c:pt>
                <c:pt idx="433">
                  <c:v>-0.212432013647126</c:v>
                </c:pt>
                <c:pt idx="434">
                  <c:v>-0.217940450551488</c:v>
                </c:pt>
                <c:pt idx="435">
                  <c:v>-0.20942024967303202</c:v>
                </c:pt>
                <c:pt idx="436">
                  <c:v>-0.222507853747692</c:v>
                </c:pt>
                <c:pt idx="437">
                  <c:v>-0.229764117194602</c:v>
                </c:pt>
                <c:pt idx="438">
                  <c:v>-0.23022416429713602</c:v>
                </c:pt>
                <c:pt idx="439">
                  <c:v>-0.23022416429713602</c:v>
                </c:pt>
                <c:pt idx="440">
                  <c:v>-0.23022416429713602</c:v>
                </c:pt>
                <c:pt idx="441">
                  <c:v>-0.237309905553044</c:v>
                </c:pt>
                <c:pt idx="442">
                  <c:v>-0.227968295652398</c:v>
                </c:pt>
                <c:pt idx="443">
                  <c:v>-0.223739137993726</c:v>
                </c:pt>
                <c:pt idx="444">
                  <c:v>-0.222085642875988</c:v>
                </c:pt>
                <c:pt idx="445">
                  <c:v>-0.227482126001455</c:v>
                </c:pt>
                <c:pt idx="446">
                  <c:v>-0.227482126001455</c:v>
                </c:pt>
                <c:pt idx="447">
                  <c:v>-0.227482126001455</c:v>
                </c:pt>
                <c:pt idx="448">
                  <c:v>-0.239569195007693</c:v>
                </c:pt>
                <c:pt idx="449">
                  <c:v>-0.23470677287191802</c:v>
                </c:pt>
                <c:pt idx="450">
                  <c:v>-0.212414909597572</c:v>
                </c:pt>
                <c:pt idx="451">
                  <c:v>-0.208148330351695</c:v>
                </c:pt>
                <c:pt idx="452">
                  <c:v>-0.206611764736359</c:v>
                </c:pt>
                <c:pt idx="453">
                  <c:v>-0.206611764736359</c:v>
                </c:pt>
                <c:pt idx="454">
                  <c:v>-0.206611764736359</c:v>
                </c:pt>
                <c:pt idx="455">
                  <c:v>-0.21087948425220598</c:v>
                </c:pt>
                <c:pt idx="456">
                  <c:v>-0.222297733090451</c:v>
                </c:pt>
                <c:pt idx="457">
                  <c:v>-0.227040945183883</c:v>
                </c:pt>
                <c:pt idx="458">
                  <c:v>-0.213670035852075</c:v>
                </c:pt>
                <c:pt idx="459">
                  <c:v>-0.212924713935171</c:v>
                </c:pt>
                <c:pt idx="460">
                  <c:v>-0.212924713935171</c:v>
                </c:pt>
                <c:pt idx="461">
                  <c:v>-0.212924713935171</c:v>
                </c:pt>
                <c:pt idx="462">
                  <c:v>-0.213563990744843</c:v>
                </c:pt>
                <c:pt idx="463">
                  <c:v>-0.205396236948095</c:v>
                </c:pt>
                <c:pt idx="464">
                  <c:v>-0.207266590681989</c:v>
                </c:pt>
                <c:pt idx="465">
                  <c:v>-0.228898444965386</c:v>
                </c:pt>
                <c:pt idx="466">
                  <c:v>-0.233008392581716</c:v>
                </c:pt>
                <c:pt idx="467">
                  <c:v>-0.233008392581716</c:v>
                </c:pt>
                <c:pt idx="468">
                  <c:v>-0.233008392581716</c:v>
                </c:pt>
                <c:pt idx="469">
                  <c:v>-0.236611127383107</c:v>
                </c:pt>
                <c:pt idx="470">
                  <c:v>-0.241228080492563</c:v>
                </c:pt>
                <c:pt idx="471">
                  <c:v>-0.23124076680604802</c:v>
                </c:pt>
                <c:pt idx="472">
                  <c:v>-0.23831220285687502</c:v>
                </c:pt>
                <c:pt idx="473">
                  <c:v>-0.23438065566043298</c:v>
                </c:pt>
                <c:pt idx="474">
                  <c:v>-0.23438065566043298</c:v>
                </c:pt>
                <c:pt idx="475">
                  <c:v>-0.23438065566043298</c:v>
                </c:pt>
                <c:pt idx="476">
                  <c:v>-0.234097143081472</c:v>
                </c:pt>
                <c:pt idx="477">
                  <c:v>-0.239974301829843</c:v>
                </c:pt>
                <c:pt idx="478">
                  <c:v>-0.24529345391914797</c:v>
                </c:pt>
                <c:pt idx="479">
                  <c:v>-0.23259706610518202</c:v>
                </c:pt>
                <c:pt idx="480">
                  <c:v>-0.235479668589921</c:v>
                </c:pt>
                <c:pt idx="481">
                  <c:v>-0.235479668589921</c:v>
                </c:pt>
                <c:pt idx="482">
                  <c:v>-0.235479668589921</c:v>
                </c:pt>
                <c:pt idx="483">
                  <c:v>-0.23296402571378302</c:v>
                </c:pt>
                <c:pt idx="484">
                  <c:v>-0.23503558526697</c:v>
                </c:pt>
                <c:pt idx="485">
                  <c:v>-0.224256094933866</c:v>
                </c:pt>
                <c:pt idx="486">
                  <c:v>-0.22777424243564698</c:v>
                </c:pt>
                <c:pt idx="487">
                  <c:v>-0.212070859049282</c:v>
                </c:pt>
                <c:pt idx="488">
                  <c:v>-0.212070859049282</c:v>
                </c:pt>
                <c:pt idx="489">
                  <c:v>-0.212070859049282</c:v>
                </c:pt>
                <c:pt idx="490">
                  <c:v>-0.201338016124051</c:v>
                </c:pt>
                <c:pt idx="491">
                  <c:v>-0.197644992673199</c:v>
                </c:pt>
                <c:pt idx="492">
                  <c:v>-0.187322024971812</c:v>
                </c:pt>
                <c:pt idx="493">
                  <c:v>-0.180113341880932</c:v>
                </c:pt>
                <c:pt idx="494">
                  <c:v>-0.17761853484697798</c:v>
                </c:pt>
                <c:pt idx="495">
                  <c:v>-0.17761853484697798</c:v>
                </c:pt>
                <c:pt idx="496">
                  <c:v>-0.17761853484697798</c:v>
                </c:pt>
                <c:pt idx="497">
                  <c:v>-0.181772952992147</c:v>
                </c:pt>
                <c:pt idx="498">
                  <c:v>-0.18085068190804499</c:v>
                </c:pt>
                <c:pt idx="499">
                  <c:v>-0.18383093296659697</c:v>
                </c:pt>
                <c:pt idx="500">
                  <c:v>-0.187402776817886</c:v>
                </c:pt>
                <c:pt idx="501">
                  <c:v>-0.174090124915465</c:v>
                </c:pt>
                <c:pt idx="502">
                  <c:v>-0.174090124915465</c:v>
                </c:pt>
                <c:pt idx="503">
                  <c:v>-0.174090124915465</c:v>
                </c:pt>
                <c:pt idx="504">
                  <c:v>-0.16005547480007698</c:v>
                </c:pt>
                <c:pt idx="505">
                  <c:v>-0.160649866437285</c:v>
                </c:pt>
                <c:pt idx="506">
                  <c:v>-0.163850915226436</c:v>
                </c:pt>
                <c:pt idx="507">
                  <c:v>-0.15304716824123799</c:v>
                </c:pt>
                <c:pt idx="508">
                  <c:v>-0.14720660179282</c:v>
                </c:pt>
                <c:pt idx="509">
                  <c:v>-0.14720660179282</c:v>
                </c:pt>
                <c:pt idx="510">
                  <c:v>-0.14720660179282</c:v>
                </c:pt>
                <c:pt idx="511">
                  <c:v>-0.159798188430431</c:v>
                </c:pt>
                <c:pt idx="512">
                  <c:v>-0.153938237392519</c:v>
                </c:pt>
                <c:pt idx="513">
                  <c:v>-0.139378959429919</c:v>
                </c:pt>
                <c:pt idx="514">
                  <c:v>-0.123896892078685</c:v>
                </c:pt>
                <c:pt idx="515">
                  <c:v>-0.13546959566744302</c:v>
                </c:pt>
                <c:pt idx="516">
                  <c:v>-0.13546959566744302</c:v>
                </c:pt>
                <c:pt idx="517">
                  <c:v>-0.13546959566744302</c:v>
                </c:pt>
                <c:pt idx="518">
                  <c:v>-0.149726080122494</c:v>
                </c:pt>
                <c:pt idx="519">
                  <c:v>-0.14029915729589398</c:v>
                </c:pt>
                <c:pt idx="520">
                  <c:v>-0.152016675170871</c:v>
                </c:pt>
                <c:pt idx="521">
                  <c:v>-0.150876301539736</c:v>
                </c:pt>
                <c:pt idx="522">
                  <c:v>-0.16083707803421599</c:v>
                </c:pt>
                <c:pt idx="523">
                  <c:v>-0.16083707803421599</c:v>
                </c:pt>
                <c:pt idx="524">
                  <c:v>-0.16083707803421599</c:v>
                </c:pt>
                <c:pt idx="525">
                  <c:v>-0.153344467720749</c:v>
                </c:pt>
                <c:pt idx="526">
                  <c:v>-0.147536450796936</c:v>
                </c:pt>
                <c:pt idx="527">
                  <c:v>-0.148110110252867</c:v>
                </c:pt>
                <c:pt idx="528">
                  <c:v>-0.155230370590601</c:v>
                </c:pt>
                <c:pt idx="529">
                  <c:v>-0.16506457711838501</c:v>
                </c:pt>
                <c:pt idx="530">
                  <c:v>-0.16506457711838501</c:v>
                </c:pt>
                <c:pt idx="531">
                  <c:v>-0.16506457711838501</c:v>
                </c:pt>
                <c:pt idx="532">
                  <c:v>-0.16228895268903598</c:v>
                </c:pt>
                <c:pt idx="533">
                  <c:v>-0.176817339701533</c:v>
                </c:pt>
                <c:pt idx="534">
                  <c:v>-0.18172786049787</c:v>
                </c:pt>
                <c:pt idx="535">
                  <c:v>-0.17071772464805998</c:v>
                </c:pt>
                <c:pt idx="536">
                  <c:v>-0.18763819073628502</c:v>
                </c:pt>
                <c:pt idx="537">
                  <c:v>-0.18763819073628502</c:v>
                </c:pt>
                <c:pt idx="538">
                  <c:v>-0.18763819073628502</c:v>
                </c:pt>
                <c:pt idx="539">
                  <c:v>-0.18147492788629202</c:v>
                </c:pt>
                <c:pt idx="540">
                  <c:v>-0.180440599362388</c:v>
                </c:pt>
                <c:pt idx="541">
                  <c:v>-0.174873075741387</c:v>
                </c:pt>
                <c:pt idx="542">
                  <c:v>-0.177118889278205</c:v>
                </c:pt>
                <c:pt idx="543">
                  <c:v>-0.15983840886210798</c:v>
                </c:pt>
                <c:pt idx="544">
                  <c:v>-0.15983840886210798</c:v>
                </c:pt>
                <c:pt idx="545">
                  <c:v>-0.15983840886210798</c:v>
                </c:pt>
                <c:pt idx="546">
                  <c:v>-0.16150683115036502</c:v>
                </c:pt>
                <c:pt idx="547">
                  <c:v>-0.17662245719753</c:v>
                </c:pt>
                <c:pt idx="548">
                  <c:v>-0.174189121081062</c:v>
                </c:pt>
                <c:pt idx="549">
                  <c:v>-0.19039163173166798</c:v>
                </c:pt>
                <c:pt idx="550">
                  <c:v>-0.203316488183304</c:v>
                </c:pt>
                <c:pt idx="551">
                  <c:v>-0.203316488183304</c:v>
                </c:pt>
                <c:pt idx="552">
                  <c:v>-0.203316488183304</c:v>
                </c:pt>
                <c:pt idx="553">
                  <c:v>-0.20236736892444798</c:v>
                </c:pt>
                <c:pt idx="554">
                  <c:v>-0.18933315021657598</c:v>
                </c:pt>
                <c:pt idx="555">
                  <c:v>-0.204067718771872</c:v>
                </c:pt>
                <c:pt idx="556">
                  <c:v>-0.194122595074256</c:v>
                </c:pt>
                <c:pt idx="557">
                  <c:v>-0.19928117641957102</c:v>
                </c:pt>
                <c:pt idx="558">
                  <c:v>-0.19928117641957102</c:v>
                </c:pt>
                <c:pt idx="559">
                  <c:v>-0.19928117641957102</c:v>
                </c:pt>
                <c:pt idx="560">
                  <c:v>-0.194445913441269</c:v>
                </c:pt>
                <c:pt idx="561">
                  <c:v>-0.17923678525654602</c:v>
                </c:pt>
                <c:pt idx="562">
                  <c:v>-0.184231997013399</c:v>
                </c:pt>
                <c:pt idx="563">
                  <c:v>-0.17619506328050702</c:v>
                </c:pt>
                <c:pt idx="564">
                  <c:v>-0.18064750653153103</c:v>
                </c:pt>
                <c:pt idx="565">
                  <c:v>-0.18064750653153103</c:v>
                </c:pt>
                <c:pt idx="566">
                  <c:v>-0.18064750653153103</c:v>
                </c:pt>
                <c:pt idx="567">
                  <c:v>-0.182458047922442</c:v>
                </c:pt>
                <c:pt idx="568">
                  <c:v>-0.180105463652047</c:v>
                </c:pt>
                <c:pt idx="569">
                  <c:v>-0.16988397997800997</c:v>
                </c:pt>
                <c:pt idx="570">
                  <c:v>-0.160913890765846</c:v>
                </c:pt>
                <c:pt idx="571">
                  <c:v>-0.154232634366651</c:v>
                </c:pt>
                <c:pt idx="572">
                  <c:v>-0.154232634366651</c:v>
                </c:pt>
                <c:pt idx="573">
                  <c:v>-0.154232634366651</c:v>
                </c:pt>
                <c:pt idx="574">
                  <c:v>-0.151992833162402</c:v>
                </c:pt>
                <c:pt idx="575">
                  <c:v>-0.160030803504357</c:v>
                </c:pt>
                <c:pt idx="576">
                  <c:v>-0.17131180530254897</c:v>
                </c:pt>
                <c:pt idx="577">
                  <c:v>-0.170282245180339</c:v>
                </c:pt>
                <c:pt idx="578">
                  <c:v>-0.170456810146691</c:v>
                </c:pt>
                <c:pt idx="579">
                  <c:v>-0.170456810146691</c:v>
                </c:pt>
                <c:pt idx="580">
                  <c:v>-0.170456810146691</c:v>
                </c:pt>
                <c:pt idx="581">
                  <c:v>-0.169415329020246</c:v>
                </c:pt>
                <c:pt idx="582">
                  <c:v>-0.163766949892265</c:v>
                </c:pt>
                <c:pt idx="583">
                  <c:v>-0.169125700447808</c:v>
                </c:pt>
                <c:pt idx="584">
                  <c:v>-0.155969783835841</c:v>
                </c:pt>
                <c:pt idx="585">
                  <c:v>-0.149721104398987</c:v>
                </c:pt>
                <c:pt idx="586">
                  <c:v>-0.149721104398987</c:v>
                </c:pt>
                <c:pt idx="587">
                  <c:v>-0.149721104398987</c:v>
                </c:pt>
                <c:pt idx="588">
                  <c:v>-0.147710393797849</c:v>
                </c:pt>
                <c:pt idx="589">
                  <c:v>-0.145946707136624</c:v>
                </c:pt>
                <c:pt idx="590">
                  <c:v>-0.152673159691003</c:v>
                </c:pt>
                <c:pt idx="591">
                  <c:v>-0.159666435418416</c:v>
                </c:pt>
                <c:pt idx="592">
                  <c:v>-0.170076063637541</c:v>
                </c:pt>
                <c:pt idx="593">
                  <c:v>-0.170076063637541</c:v>
                </c:pt>
                <c:pt idx="594">
                  <c:v>-0.170076063637541</c:v>
                </c:pt>
                <c:pt idx="595">
                  <c:v>-0.168288638628754</c:v>
                </c:pt>
                <c:pt idx="596">
                  <c:v>-0.184825352041543</c:v>
                </c:pt>
                <c:pt idx="597">
                  <c:v>-0.18139148085665202</c:v>
                </c:pt>
                <c:pt idx="598">
                  <c:v>-0.16616618157053298</c:v>
                </c:pt>
                <c:pt idx="599">
                  <c:v>-0.163028365934276</c:v>
                </c:pt>
                <c:pt idx="600">
                  <c:v>-0.163028365934276</c:v>
                </c:pt>
                <c:pt idx="601">
                  <c:v>-0.163028365934276</c:v>
                </c:pt>
                <c:pt idx="602">
                  <c:v>-0.16106305881013402</c:v>
                </c:pt>
                <c:pt idx="603">
                  <c:v>-0.169638925595318</c:v>
                </c:pt>
                <c:pt idx="604">
                  <c:v>-0.17164414216841797</c:v>
                </c:pt>
                <c:pt idx="605">
                  <c:v>-0.17559662886795</c:v>
                </c:pt>
                <c:pt idx="606">
                  <c:v>-0.161185378679667</c:v>
                </c:pt>
                <c:pt idx="607">
                  <c:v>-0.161185378679667</c:v>
                </c:pt>
                <c:pt idx="608">
                  <c:v>-0.161185378679667</c:v>
                </c:pt>
                <c:pt idx="609">
                  <c:v>-0.155718509798765</c:v>
                </c:pt>
                <c:pt idx="610">
                  <c:v>-0.160983343573124</c:v>
                </c:pt>
                <c:pt idx="611">
                  <c:v>-0.158744475317033</c:v>
                </c:pt>
                <c:pt idx="612">
                  <c:v>-0.161424213407977</c:v>
                </c:pt>
                <c:pt idx="613">
                  <c:v>-0.16177365432339902</c:v>
                </c:pt>
                <c:pt idx="614">
                  <c:v>-0.16177365432339902</c:v>
                </c:pt>
                <c:pt idx="615">
                  <c:v>-0.16177365432339902</c:v>
                </c:pt>
                <c:pt idx="616">
                  <c:v>-0.153001142798804</c:v>
                </c:pt>
                <c:pt idx="617">
                  <c:v>-0.155664709788352</c:v>
                </c:pt>
                <c:pt idx="618">
                  <c:v>-0.14983730827504402</c:v>
                </c:pt>
                <c:pt idx="619">
                  <c:v>-0.142056416980923</c:v>
                </c:pt>
                <c:pt idx="620">
                  <c:v>-0.145679469319965</c:v>
                </c:pt>
                <c:pt idx="621">
                  <c:v>-0.145679469319965</c:v>
                </c:pt>
                <c:pt idx="622">
                  <c:v>-0.145679469319965</c:v>
                </c:pt>
                <c:pt idx="623">
                  <c:v>-0.145925249329002</c:v>
                </c:pt>
                <c:pt idx="624">
                  <c:v>-0.154988944339631</c:v>
                </c:pt>
                <c:pt idx="625">
                  <c:v>-0.162555568540257</c:v>
                </c:pt>
                <c:pt idx="626">
                  <c:v>-0.144994789033296</c:v>
                </c:pt>
                <c:pt idx="627">
                  <c:v>-0.134095881336037</c:v>
                </c:pt>
                <c:pt idx="628">
                  <c:v>-0.134095881336037</c:v>
                </c:pt>
                <c:pt idx="629">
                  <c:v>-0.134095881336037</c:v>
                </c:pt>
                <c:pt idx="630">
                  <c:v>-0.135467833432035</c:v>
                </c:pt>
                <c:pt idx="631">
                  <c:v>-0.134442212424267</c:v>
                </c:pt>
                <c:pt idx="632">
                  <c:v>-0.147965503288461</c:v>
                </c:pt>
                <c:pt idx="633">
                  <c:v>-0.133327028393383</c:v>
                </c:pt>
                <c:pt idx="634">
                  <c:v>-0.121528758672333</c:v>
                </c:pt>
                <c:pt idx="635">
                  <c:v>-0.121528758672333</c:v>
                </c:pt>
                <c:pt idx="636">
                  <c:v>-0.121528758672333</c:v>
                </c:pt>
                <c:pt idx="637">
                  <c:v>-0.122616990867557</c:v>
                </c:pt>
                <c:pt idx="638">
                  <c:v>-0.122545257520339</c:v>
                </c:pt>
                <c:pt idx="639">
                  <c:v>-0.125971250476344</c:v>
                </c:pt>
                <c:pt idx="640">
                  <c:v>-0.117093730453582</c:v>
                </c:pt>
                <c:pt idx="641">
                  <c:v>-0.11699794777608201</c:v>
                </c:pt>
                <c:pt idx="642">
                  <c:v>-0.11699794777608201</c:v>
                </c:pt>
                <c:pt idx="643">
                  <c:v>-0.11699794777608201</c:v>
                </c:pt>
                <c:pt idx="644">
                  <c:v>-0.109891059695272</c:v>
                </c:pt>
                <c:pt idx="645">
                  <c:v>-0.0966003839050051</c:v>
                </c:pt>
                <c:pt idx="646">
                  <c:v>-0.09243072760659769</c:v>
                </c:pt>
                <c:pt idx="647">
                  <c:v>-0.08230461196643461</c:v>
                </c:pt>
                <c:pt idx="648">
                  <c:v>-0.0818402111058324</c:v>
                </c:pt>
                <c:pt idx="649">
                  <c:v>-0.0818402111058324</c:v>
                </c:pt>
                <c:pt idx="650">
                  <c:v>-0.0818402111058324</c:v>
                </c:pt>
                <c:pt idx="651">
                  <c:v>-0.085529710085867</c:v>
                </c:pt>
                <c:pt idx="652">
                  <c:v>-0.0879536130598542</c:v>
                </c:pt>
                <c:pt idx="653">
                  <c:v>-0.09390043193731619</c:v>
                </c:pt>
                <c:pt idx="654">
                  <c:v>-0.0940578928541141</c:v>
                </c:pt>
                <c:pt idx="655">
                  <c:v>-0.102371393885239</c:v>
                </c:pt>
                <c:pt idx="656">
                  <c:v>-0.102371393885239</c:v>
                </c:pt>
                <c:pt idx="657">
                  <c:v>-0.102371393885239</c:v>
                </c:pt>
                <c:pt idx="658">
                  <c:v>-0.10928215553117</c:v>
                </c:pt>
                <c:pt idx="659">
                  <c:v>-0.100558675615295</c:v>
                </c:pt>
                <c:pt idx="660">
                  <c:v>-0.10761673940919801</c:v>
                </c:pt>
                <c:pt idx="661">
                  <c:v>-0.107688265434603</c:v>
                </c:pt>
                <c:pt idx="662">
                  <c:v>-0.09366854248973419</c:v>
                </c:pt>
                <c:pt idx="663">
                  <c:v>-0.09366854248973419</c:v>
                </c:pt>
                <c:pt idx="664">
                  <c:v>-0.09366854248973419</c:v>
                </c:pt>
                <c:pt idx="665">
                  <c:v>-0.0858916939709615</c:v>
                </c:pt>
                <c:pt idx="666">
                  <c:v>-0.08542418328316771</c:v>
                </c:pt>
                <c:pt idx="667">
                  <c:v>-0.0902152867153497</c:v>
                </c:pt>
                <c:pt idx="668">
                  <c:v>-0.10083835274071999</c:v>
                </c:pt>
                <c:pt idx="669">
                  <c:v>-0.0957919324961129</c:v>
                </c:pt>
                <c:pt idx="670">
                  <c:v>-0.0957919324961129</c:v>
                </c:pt>
                <c:pt idx="671">
                  <c:v>-0.0957919324961129</c:v>
                </c:pt>
                <c:pt idx="672">
                  <c:v>-0.09139069773284281</c:v>
                </c:pt>
                <c:pt idx="673">
                  <c:v>-0.08128085685498201</c:v>
                </c:pt>
                <c:pt idx="674">
                  <c:v>-0.0643186154214848</c:v>
                </c:pt>
                <c:pt idx="675">
                  <c:v>-0.0484082212050704</c:v>
                </c:pt>
                <c:pt idx="676">
                  <c:v>-0.052810077933778905</c:v>
                </c:pt>
                <c:pt idx="677">
                  <c:v>-0.052810077933778905</c:v>
                </c:pt>
                <c:pt idx="678">
                  <c:v>-0.052810077933778905</c:v>
                </c:pt>
                <c:pt idx="679">
                  <c:v>-0.049836668495047906</c:v>
                </c:pt>
                <c:pt idx="680">
                  <c:v>-0.046822105676482303</c:v>
                </c:pt>
                <c:pt idx="681">
                  <c:v>-0.0474812853801809</c:v>
                </c:pt>
                <c:pt idx="682">
                  <c:v>-0.06438433643613249</c:v>
                </c:pt>
                <c:pt idx="683">
                  <c:v>-0.07047358539896681</c:v>
                </c:pt>
                <c:pt idx="684">
                  <c:v>-0.07047358539896681</c:v>
                </c:pt>
                <c:pt idx="685">
                  <c:v>-0.07047358539896681</c:v>
                </c:pt>
                <c:pt idx="686">
                  <c:v>-0.0721167144260664</c:v>
                </c:pt>
                <c:pt idx="687">
                  <c:v>-0.062198438903204</c:v>
                </c:pt>
                <c:pt idx="688">
                  <c:v>-0.064614463648306</c:v>
                </c:pt>
                <c:pt idx="689">
                  <c:v>-0.0640305417626425</c:v>
                </c:pt>
                <c:pt idx="690">
                  <c:v>-0.0544207610971802</c:v>
                </c:pt>
                <c:pt idx="691">
                  <c:v>-0.0544207610971802</c:v>
                </c:pt>
                <c:pt idx="692">
                  <c:v>-0.0544207610971802</c:v>
                </c:pt>
                <c:pt idx="693">
                  <c:v>-0.051476169390424105</c:v>
                </c:pt>
                <c:pt idx="694">
                  <c:v>-0.056346988059615695</c:v>
                </c:pt>
                <c:pt idx="695">
                  <c:v>-0.0767800039606764</c:v>
                </c:pt>
                <c:pt idx="696">
                  <c:v>-0.0791607839976076</c:v>
                </c:pt>
                <c:pt idx="697">
                  <c:v>-0.0802195764954182</c:v>
                </c:pt>
                <c:pt idx="698">
                  <c:v>-0.0802195764954182</c:v>
                </c:pt>
                <c:pt idx="699">
                  <c:v>-0.0802195764954182</c:v>
                </c:pt>
                <c:pt idx="700">
                  <c:v>-0.0770034968748412</c:v>
                </c:pt>
                <c:pt idx="701">
                  <c:v>-0.0885033268464108</c:v>
                </c:pt>
                <c:pt idx="702">
                  <c:v>-0.0948672772111638</c:v>
                </c:pt>
                <c:pt idx="703">
                  <c:v>-0.09688037201314939</c:v>
                </c:pt>
                <c:pt idx="704">
                  <c:v>-0.1046065303487</c:v>
                </c:pt>
                <c:pt idx="705">
                  <c:v>-0.1046065303487</c:v>
                </c:pt>
                <c:pt idx="706">
                  <c:v>-0.1046065303487</c:v>
                </c:pt>
                <c:pt idx="707">
                  <c:v>-0.099622306647924</c:v>
                </c:pt>
                <c:pt idx="708">
                  <c:v>-0.11357496098636201</c:v>
                </c:pt>
                <c:pt idx="709">
                  <c:v>-0.12238955883894899</c:v>
                </c:pt>
                <c:pt idx="710">
                  <c:v>-0.127299146687129</c:v>
                </c:pt>
                <c:pt idx="711">
                  <c:v>-0.130611319967924</c:v>
                </c:pt>
                <c:pt idx="712">
                  <c:v>-0.130611319967924</c:v>
                </c:pt>
                <c:pt idx="713">
                  <c:v>-0.130611319967924</c:v>
                </c:pt>
                <c:pt idx="714">
                  <c:v>-0.118783403227648</c:v>
                </c:pt>
                <c:pt idx="715">
                  <c:v>-0.12141359140534</c:v>
                </c:pt>
                <c:pt idx="716">
                  <c:v>-0.109000819831243</c:v>
                </c:pt>
                <c:pt idx="717">
                  <c:v>-0.11618400233915199</c:v>
                </c:pt>
                <c:pt idx="718">
                  <c:v>-0.11514407612630301</c:v>
                </c:pt>
                <c:pt idx="719">
                  <c:v>-0.11514407612630301</c:v>
                </c:pt>
                <c:pt idx="720">
                  <c:v>-0.11514407612630301</c:v>
                </c:pt>
                <c:pt idx="721">
                  <c:v>-0.106911534263064</c:v>
                </c:pt>
                <c:pt idx="722">
                  <c:v>-0.09012914450214421</c:v>
                </c:pt>
                <c:pt idx="723">
                  <c:v>-0.08871002669374141</c:v>
                </c:pt>
                <c:pt idx="724">
                  <c:v>-0.091900398409535</c:v>
                </c:pt>
                <c:pt idx="725">
                  <c:v>-0.0921761364205176</c:v>
                </c:pt>
                <c:pt idx="726">
                  <c:v>-0.0921761364205176</c:v>
                </c:pt>
                <c:pt idx="727">
                  <c:v>-0.0921761364205176</c:v>
                </c:pt>
                <c:pt idx="728">
                  <c:v>-0.0904663534306128</c:v>
                </c:pt>
                <c:pt idx="729">
                  <c:v>-0.096566383127711</c:v>
                </c:pt>
                <c:pt idx="730">
                  <c:v>-0.10456983438784001</c:v>
                </c:pt>
                <c:pt idx="731">
                  <c:v>-0.115184814862512</c:v>
                </c:pt>
                <c:pt idx="732">
                  <c:v>-0.11935457482182599</c:v>
                </c:pt>
                <c:pt idx="733">
                  <c:v>-0.11935457482182599</c:v>
                </c:pt>
                <c:pt idx="734">
                  <c:v>-0.11935457482182599</c:v>
                </c:pt>
                <c:pt idx="735">
                  <c:v>-0.109688402623291</c:v>
                </c:pt>
                <c:pt idx="736">
                  <c:v>-0.117376310084385</c:v>
                </c:pt>
                <c:pt idx="737">
                  <c:v>-0.114868545437133</c:v>
                </c:pt>
                <c:pt idx="738">
                  <c:v>-0.107042665309641</c:v>
                </c:pt>
                <c:pt idx="739">
                  <c:v>-0.11810660116986399</c:v>
                </c:pt>
                <c:pt idx="740">
                  <c:v>-0.11810660116986399</c:v>
                </c:pt>
                <c:pt idx="741">
                  <c:v>-0.11810660116986399</c:v>
                </c:pt>
                <c:pt idx="742">
                  <c:v>-0.11664052497086899</c:v>
                </c:pt>
                <c:pt idx="743">
                  <c:v>-0.12032328599198801</c:v>
                </c:pt>
                <c:pt idx="744">
                  <c:v>-0.127211967864859</c:v>
                </c:pt>
                <c:pt idx="745">
                  <c:v>-0.14037897619381</c:v>
                </c:pt>
                <c:pt idx="746">
                  <c:v>-0.139616550227352</c:v>
                </c:pt>
                <c:pt idx="747">
                  <c:v>-0.139616550227352</c:v>
                </c:pt>
                <c:pt idx="748">
                  <c:v>-0.139616550227352</c:v>
                </c:pt>
                <c:pt idx="749">
                  <c:v>-0.14279945835788602</c:v>
                </c:pt>
                <c:pt idx="750">
                  <c:v>-0.153619272783574</c:v>
                </c:pt>
                <c:pt idx="751">
                  <c:v>-0.154182877131586</c:v>
                </c:pt>
                <c:pt idx="752">
                  <c:v>-0.144920153180699</c:v>
                </c:pt>
                <c:pt idx="753">
                  <c:v>-0.139671179525017</c:v>
                </c:pt>
                <c:pt idx="754">
                  <c:v>-0.139671179525017</c:v>
                </c:pt>
                <c:pt idx="755">
                  <c:v>-0.139671179525017</c:v>
                </c:pt>
                <c:pt idx="756">
                  <c:v>-0.14537771242148</c:v>
                </c:pt>
                <c:pt idx="757">
                  <c:v>-0.160285083707718</c:v>
                </c:pt>
                <c:pt idx="758">
                  <c:v>-0.156897237965262</c:v>
                </c:pt>
                <c:pt idx="759">
                  <c:v>-0.157013960145851</c:v>
                </c:pt>
                <c:pt idx="760">
                  <c:v>-0.142131882120771</c:v>
                </c:pt>
                <c:pt idx="761">
                  <c:v>-0.142131882120771</c:v>
                </c:pt>
                <c:pt idx="762">
                  <c:v>-0.142131882120771</c:v>
                </c:pt>
                <c:pt idx="763">
                  <c:v>-0.142076319874948</c:v>
                </c:pt>
                <c:pt idx="764">
                  <c:v>-0.130846111920885</c:v>
                </c:pt>
                <c:pt idx="765">
                  <c:v>-0.124878249879427</c:v>
                </c:pt>
                <c:pt idx="766">
                  <c:v>-0.127106959366692</c:v>
                </c:pt>
                <c:pt idx="767">
                  <c:v>-0.138922955102734</c:v>
                </c:pt>
                <c:pt idx="768">
                  <c:v>-0.138922955102734</c:v>
                </c:pt>
                <c:pt idx="769">
                  <c:v>-0.138922955102734</c:v>
                </c:pt>
                <c:pt idx="770">
                  <c:v>-0.133144896180866</c:v>
                </c:pt>
                <c:pt idx="771">
                  <c:v>-0.133632724406311</c:v>
                </c:pt>
                <c:pt idx="772">
                  <c:v>-0.152125726444387</c:v>
                </c:pt>
                <c:pt idx="773">
                  <c:v>-0.159692765288638</c:v>
                </c:pt>
                <c:pt idx="774">
                  <c:v>-0.170655942747855</c:v>
                </c:pt>
                <c:pt idx="775">
                  <c:v>-0.170655942747855</c:v>
                </c:pt>
                <c:pt idx="776">
                  <c:v>-0.170655942747855</c:v>
                </c:pt>
                <c:pt idx="777">
                  <c:v>-0.16878973545021603</c:v>
                </c:pt>
                <c:pt idx="778">
                  <c:v>-0.163902331036003</c:v>
                </c:pt>
                <c:pt idx="779">
                  <c:v>-0.179829103675626</c:v>
                </c:pt>
                <c:pt idx="780">
                  <c:v>-0.187334775263297</c:v>
                </c:pt>
                <c:pt idx="781">
                  <c:v>-0.189610650462968</c:v>
                </c:pt>
                <c:pt idx="782">
                  <c:v>-0.189610650462968</c:v>
                </c:pt>
                <c:pt idx="783">
                  <c:v>-0.189610650462968</c:v>
                </c:pt>
                <c:pt idx="784">
                  <c:v>-0.191049878487209</c:v>
                </c:pt>
                <c:pt idx="785">
                  <c:v>-0.193077796798808</c:v>
                </c:pt>
                <c:pt idx="786">
                  <c:v>-0.1860407761689</c:v>
                </c:pt>
                <c:pt idx="787">
                  <c:v>-0.171565670862285</c:v>
                </c:pt>
                <c:pt idx="788">
                  <c:v>-0.16159525390351098</c:v>
                </c:pt>
                <c:pt idx="789">
                  <c:v>-0.16159525390351098</c:v>
                </c:pt>
                <c:pt idx="790">
                  <c:v>-0.16159525390351098</c:v>
                </c:pt>
                <c:pt idx="791">
                  <c:v>-0.15834030144304</c:v>
                </c:pt>
                <c:pt idx="792">
                  <c:v>-0.15714840834143198</c:v>
                </c:pt>
                <c:pt idx="793">
                  <c:v>-0.154278763469992</c:v>
                </c:pt>
                <c:pt idx="794">
                  <c:v>-0.152010559177394</c:v>
                </c:pt>
                <c:pt idx="795">
                  <c:v>-0.144533290678072</c:v>
                </c:pt>
                <c:pt idx="796">
                  <c:v>-0.144533290678072</c:v>
                </c:pt>
                <c:pt idx="797">
                  <c:v>-0.144533290678072</c:v>
                </c:pt>
                <c:pt idx="798">
                  <c:v>-0.144499704544404</c:v>
                </c:pt>
                <c:pt idx="799">
                  <c:v>-0.126260671726969</c:v>
                </c:pt>
                <c:pt idx="800">
                  <c:v>-0.124491491037706</c:v>
                </c:pt>
                <c:pt idx="801">
                  <c:v>-0.126241909102914</c:v>
                </c:pt>
                <c:pt idx="802">
                  <c:v>-0.12146044613502599</c:v>
                </c:pt>
                <c:pt idx="803">
                  <c:v>-0.12146044613502599</c:v>
                </c:pt>
                <c:pt idx="804">
                  <c:v>-0.12146044613502599</c:v>
                </c:pt>
                <c:pt idx="805">
                  <c:v>-0.11268648335774101</c:v>
                </c:pt>
                <c:pt idx="806">
                  <c:v>-0.12004796262463101</c:v>
                </c:pt>
                <c:pt idx="807">
                  <c:v>-0.122003007319042</c:v>
                </c:pt>
                <c:pt idx="808">
                  <c:v>-0.12026513222350699</c:v>
                </c:pt>
                <c:pt idx="809">
                  <c:v>-0.12276076854471199</c:v>
                </c:pt>
                <c:pt idx="810">
                  <c:v>-0.12276076854471199</c:v>
                </c:pt>
                <c:pt idx="811">
                  <c:v>-0.12276076854471199</c:v>
                </c:pt>
                <c:pt idx="812">
                  <c:v>-0.124172630089668</c:v>
                </c:pt>
                <c:pt idx="813">
                  <c:v>-0.121827820387252</c:v>
                </c:pt>
                <c:pt idx="814">
                  <c:v>-0.121205543966226</c:v>
                </c:pt>
                <c:pt idx="815">
                  <c:v>-0.123086782095291</c:v>
                </c:pt>
                <c:pt idx="816">
                  <c:v>-0.12178832558191999</c:v>
                </c:pt>
                <c:pt idx="817">
                  <c:v>-0.12178832558191999</c:v>
                </c:pt>
                <c:pt idx="818">
                  <c:v>-0.12178832558191999</c:v>
                </c:pt>
                <c:pt idx="819">
                  <c:v>-0.132613426713833</c:v>
                </c:pt>
                <c:pt idx="820">
                  <c:v>-0.133700829621806</c:v>
                </c:pt>
                <c:pt idx="821">
                  <c:v>-0.13603019384917</c:v>
                </c:pt>
                <c:pt idx="822">
                  <c:v>-0.128976483813335</c:v>
                </c:pt>
                <c:pt idx="823">
                  <c:v>-0.12336189814083501</c:v>
                </c:pt>
                <c:pt idx="824">
                  <c:v>-0.12336189814083501</c:v>
                </c:pt>
                <c:pt idx="825">
                  <c:v>-0.12336189814083501</c:v>
                </c:pt>
                <c:pt idx="826">
                  <c:v>-0.127569597991886</c:v>
                </c:pt>
                <c:pt idx="827">
                  <c:v>-0.12087382906579601</c:v>
                </c:pt>
                <c:pt idx="828">
                  <c:v>-0.110718688371845</c:v>
                </c:pt>
                <c:pt idx="829">
                  <c:v>-0.1041242998122</c:v>
                </c:pt>
                <c:pt idx="830">
                  <c:v>-0.10170537256171899</c:v>
                </c:pt>
                <c:pt idx="831">
                  <c:v>-0.10170537256171899</c:v>
                </c:pt>
                <c:pt idx="832">
                  <c:v>-0.10170537256171899</c:v>
                </c:pt>
                <c:pt idx="833">
                  <c:v>-0.0965216016161529</c:v>
                </c:pt>
                <c:pt idx="834">
                  <c:v>-0.0901016743619524</c:v>
                </c:pt>
                <c:pt idx="835">
                  <c:v>-0.09854143437705361</c:v>
                </c:pt>
                <c:pt idx="836">
                  <c:v>-0.08970506773412551</c:v>
                </c:pt>
                <c:pt idx="837">
                  <c:v>-0.0914340279917114</c:v>
                </c:pt>
                <c:pt idx="838">
                  <c:v>-0.0914340279917114</c:v>
                </c:pt>
                <c:pt idx="839">
                  <c:v>-0.0914340279917114</c:v>
                </c:pt>
                <c:pt idx="840">
                  <c:v>-0.0913718314478808</c:v>
                </c:pt>
                <c:pt idx="841">
                  <c:v>-0.0886558120397023</c:v>
                </c:pt>
                <c:pt idx="842">
                  <c:v>-0.0825740266621278</c:v>
                </c:pt>
                <c:pt idx="843">
                  <c:v>-0.0796235262837077</c:v>
                </c:pt>
                <c:pt idx="844">
                  <c:v>-0.0841240681952942</c:v>
                </c:pt>
                <c:pt idx="845">
                  <c:v>-0.0841240681952942</c:v>
                </c:pt>
                <c:pt idx="846">
                  <c:v>-0.0841240681952942</c:v>
                </c:pt>
                <c:pt idx="847">
                  <c:v>-0.0841240681952942</c:v>
                </c:pt>
                <c:pt idx="848">
                  <c:v>-0.095851019212752</c:v>
                </c:pt>
                <c:pt idx="849">
                  <c:v>-0.10564459066523399</c:v>
                </c:pt>
                <c:pt idx="850">
                  <c:v>-0.104822870660325</c:v>
                </c:pt>
                <c:pt idx="851">
                  <c:v>-0.103072556256023</c:v>
                </c:pt>
                <c:pt idx="852">
                  <c:v>-0.103072556256023</c:v>
                </c:pt>
                <c:pt idx="853">
                  <c:v>-0.103072556256023</c:v>
                </c:pt>
                <c:pt idx="854">
                  <c:v>-0.0901825298689322</c:v>
                </c:pt>
                <c:pt idx="855">
                  <c:v>-0.0920471822529753</c:v>
                </c:pt>
                <c:pt idx="856">
                  <c:v>-0.0881621788034996</c:v>
                </c:pt>
                <c:pt idx="857">
                  <c:v>-0.08987393135062581</c:v>
                </c:pt>
                <c:pt idx="858">
                  <c:v>-0.0911423262011456</c:v>
                </c:pt>
                <c:pt idx="859">
                  <c:v>-0.0911423262011456</c:v>
                </c:pt>
                <c:pt idx="860">
                  <c:v>-0.0911423262011456</c:v>
                </c:pt>
                <c:pt idx="861">
                  <c:v>-0.0919881991972426</c:v>
                </c:pt>
                <c:pt idx="862">
                  <c:v>-0.0915536526776791</c:v>
                </c:pt>
                <c:pt idx="863">
                  <c:v>-0.0989293334887441</c:v>
                </c:pt>
                <c:pt idx="864">
                  <c:v>-0.08872298430703941</c:v>
                </c:pt>
                <c:pt idx="865">
                  <c:v>-0.0798445313361193</c:v>
                </c:pt>
                <c:pt idx="866">
                  <c:v>-0.0798445313361193</c:v>
                </c:pt>
                <c:pt idx="867">
                  <c:v>-0.0798445313361193</c:v>
                </c:pt>
                <c:pt idx="868">
                  <c:v>-0.07789560263518559</c:v>
                </c:pt>
                <c:pt idx="869">
                  <c:v>-0.0699248045605676</c:v>
                </c:pt>
                <c:pt idx="870">
                  <c:v>-0.06310350227684651</c:v>
                </c:pt>
                <c:pt idx="871">
                  <c:v>-0.0608780062776792</c:v>
                </c:pt>
                <c:pt idx="872">
                  <c:v>-0.061705323971533305</c:v>
                </c:pt>
                <c:pt idx="873">
                  <c:v>-0.061705323971533305</c:v>
                </c:pt>
                <c:pt idx="874">
                  <c:v>-0.061705323971533305</c:v>
                </c:pt>
                <c:pt idx="875">
                  <c:v>-0.054504830092258</c:v>
                </c:pt>
                <c:pt idx="876">
                  <c:v>-0.054527946474381694</c:v>
                </c:pt>
                <c:pt idx="877">
                  <c:v>-0.0668365388375626</c:v>
                </c:pt>
                <c:pt idx="878">
                  <c:v>-0.0572649053856498</c:v>
                </c:pt>
                <c:pt idx="879">
                  <c:v>-0.0314031678172365</c:v>
                </c:pt>
                <c:pt idx="880">
                  <c:v>-0.0314031678172365</c:v>
                </c:pt>
                <c:pt idx="881">
                  <c:v>-0.0314031678172365</c:v>
                </c:pt>
                <c:pt idx="882">
                  <c:v>-0.0351547596801954</c:v>
                </c:pt>
                <c:pt idx="883">
                  <c:v>-0.032566761491401704</c:v>
                </c:pt>
                <c:pt idx="884">
                  <c:v>-0.0180444904723813</c:v>
                </c:pt>
                <c:pt idx="885">
                  <c:v>-0.016034194514868</c:v>
                </c:pt>
                <c:pt idx="886">
                  <c:v>-0.00978271623354216</c:v>
                </c:pt>
                <c:pt idx="887">
                  <c:v>-0.00978271623354216</c:v>
                </c:pt>
                <c:pt idx="888">
                  <c:v>-0.00978271623354216</c:v>
                </c:pt>
                <c:pt idx="889">
                  <c:v>-0.00909565174602616</c:v>
                </c:pt>
                <c:pt idx="890">
                  <c:v>-0.0251268109183784</c:v>
                </c:pt>
                <c:pt idx="891">
                  <c:v>-0.0145066473983871</c:v>
                </c:pt>
                <c:pt idx="892">
                  <c:v>-0.00922284367815986</c:v>
                </c:pt>
                <c:pt idx="893">
                  <c:v>-0.00970579984100492</c:v>
                </c:pt>
                <c:pt idx="894">
                  <c:v>-0.00970579984100492</c:v>
                </c:pt>
                <c:pt idx="895">
                  <c:v>-0.00970579984100492</c:v>
                </c:pt>
                <c:pt idx="896">
                  <c:v>-0.012302505545934901</c:v>
                </c:pt>
                <c:pt idx="897">
                  <c:v>-0.022882966938781002</c:v>
                </c:pt>
                <c:pt idx="898">
                  <c:v>-0.0221769325053966</c:v>
                </c:pt>
                <c:pt idx="899">
                  <c:v>0.012600161316609699</c:v>
                </c:pt>
                <c:pt idx="900">
                  <c:v>0.0113464863147964</c:v>
                </c:pt>
                <c:pt idx="901">
                  <c:v>0.0113464863147964</c:v>
                </c:pt>
                <c:pt idx="902">
                  <c:v>0.0113464863147964</c:v>
                </c:pt>
                <c:pt idx="903">
                  <c:v>0.0153502851629886</c:v>
                </c:pt>
                <c:pt idx="904">
                  <c:v>0.0181873805098241</c:v>
                </c:pt>
                <c:pt idx="905">
                  <c:v>0.014529705428049499</c:v>
                </c:pt>
                <c:pt idx="906">
                  <c:v>0.0217854505704277</c:v>
                </c:pt>
                <c:pt idx="907">
                  <c:v>0.0365829412958988</c:v>
                </c:pt>
                <c:pt idx="908">
                  <c:v>0.0365829412958988</c:v>
                </c:pt>
                <c:pt idx="909">
                  <c:v>0.0365829412958988</c:v>
                </c:pt>
                <c:pt idx="910">
                  <c:v>0.0418476714093513</c:v>
                </c:pt>
                <c:pt idx="911">
                  <c:v>0.0225870603594985</c:v>
                </c:pt>
                <c:pt idx="912">
                  <c:v>0.0399942144031976</c:v>
                </c:pt>
                <c:pt idx="913">
                  <c:v>0.056544507394723095</c:v>
                </c:pt>
                <c:pt idx="914">
                  <c:v>0.0455037915775301</c:v>
                </c:pt>
                <c:pt idx="915">
                  <c:v>0.0455037915775301</c:v>
                </c:pt>
                <c:pt idx="916">
                  <c:v>0.0455037915775301</c:v>
                </c:pt>
                <c:pt idx="917">
                  <c:v>0.0369256442524057</c:v>
                </c:pt>
                <c:pt idx="918">
                  <c:v>0.0609685475573978</c:v>
                </c:pt>
                <c:pt idx="919">
                  <c:v>0.0561964140710842</c:v>
                </c:pt>
                <c:pt idx="920">
                  <c:v>0.0435434601768942</c:v>
                </c:pt>
                <c:pt idx="921">
                  <c:v>0.039048515954252495</c:v>
                </c:pt>
                <c:pt idx="922">
                  <c:v>0.039048515954252495</c:v>
                </c:pt>
                <c:pt idx="923">
                  <c:v>0.039048515954252495</c:v>
                </c:pt>
                <c:pt idx="924">
                  <c:v>0.0473811942530586</c:v>
                </c:pt>
                <c:pt idx="925">
                  <c:v>0.0511490608783199</c:v>
                </c:pt>
                <c:pt idx="926">
                  <c:v>0.0667484723755809</c:v>
                </c:pt>
                <c:pt idx="927">
                  <c:v>0.075111626980864</c:v>
                </c:pt>
                <c:pt idx="928">
                  <c:v>0.0764762191525087</c:v>
                </c:pt>
                <c:pt idx="929">
                  <c:v>0.0764762191525087</c:v>
                </c:pt>
                <c:pt idx="930">
                  <c:v>0.0764762191525087</c:v>
                </c:pt>
                <c:pt idx="931">
                  <c:v>0.07541867058557469</c:v>
                </c:pt>
                <c:pt idx="932">
                  <c:v>0.0682742572566534</c:v>
                </c:pt>
                <c:pt idx="933">
                  <c:v>0.0648924238467677</c:v>
                </c:pt>
                <c:pt idx="934">
                  <c:v>0.0653735141132978</c:v>
                </c:pt>
                <c:pt idx="935">
                  <c:v>0.06540222818436629</c:v>
                </c:pt>
                <c:pt idx="936">
                  <c:v>0.06540222818436629</c:v>
                </c:pt>
                <c:pt idx="937">
                  <c:v>0.06540222818436629</c:v>
                </c:pt>
                <c:pt idx="938">
                  <c:v>0.0648712770218653</c:v>
                </c:pt>
                <c:pt idx="939">
                  <c:v>0.062099384385145596</c:v>
                </c:pt>
                <c:pt idx="940">
                  <c:v>0.0674855014199742</c:v>
                </c:pt>
                <c:pt idx="941">
                  <c:v>0.059304375366302196</c:v>
                </c:pt>
                <c:pt idx="942">
                  <c:v>0.0669456354195241</c:v>
                </c:pt>
                <c:pt idx="943">
                  <c:v>0.0669456354195241</c:v>
                </c:pt>
                <c:pt idx="944">
                  <c:v>0.0669456354195241</c:v>
                </c:pt>
                <c:pt idx="945">
                  <c:v>0.070445642262688</c:v>
                </c:pt>
                <c:pt idx="946">
                  <c:v>0.06751069102022561</c:v>
                </c:pt>
                <c:pt idx="947">
                  <c:v>0.0681116132945362</c:v>
                </c:pt>
                <c:pt idx="948">
                  <c:v>0.0805873070388088</c:v>
                </c:pt>
                <c:pt idx="949">
                  <c:v>0.058009546984654305</c:v>
                </c:pt>
                <c:pt idx="950">
                  <c:v>0.058009546984654305</c:v>
                </c:pt>
                <c:pt idx="951">
                  <c:v>0.058009546984654305</c:v>
                </c:pt>
                <c:pt idx="952">
                  <c:v>0.040839258112043496</c:v>
                </c:pt>
                <c:pt idx="953">
                  <c:v>0.0358703762254122</c:v>
                </c:pt>
                <c:pt idx="954">
                  <c:v>0.024493177106095398</c:v>
                </c:pt>
                <c:pt idx="955">
                  <c:v>0.0237040066257907</c:v>
                </c:pt>
                <c:pt idx="956">
                  <c:v>0.0010894469498697</c:v>
                </c:pt>
                <c:pt idx="957">
                  <c:v>0.0010894469498697</c:v>
                </c:pt>
                <c:pt idx="958">
                  <c:v>0.0010894469498697</c:v>
                </c:pt>
                <c:pt idx="959">
                  <c:v>0.0161329250061911</c:v>
                </c:pt>
                <c:pt idx="960">
                  <c:v>0.0327482133860195</c:v>
                </c:pt>
                <c:pt idx="961">
                  <c:v>0.0269726423259046</c:v>
                </c:pt>
                <c:pt idx="962">
                  <c:v>0.020392040666808203</c:v>
                </c:pt>
                <c:pt idx="963">
                  <c:v>0.041220833908444596</c:v>
                </c:pt>
                <c:pt idx="964">
                  <c:v>0.041220833908444596</c:v>
                </c:pt>
                <c:pt idx="965">
                  <c:v>0.041220833908444596</c:v>
                </c:pt>
                <c:pt idx="966">
                  <c:v>0.0416161966053948</c:v>
                </c:pt>
                <c:pt idx="967">
                  <c:v>0.0284014005986012</c:v>
                </c:pt>
                <c:pt idx="968">
                  <c:v>0.0209342908681051</c:v>
                </c:pt>
                <c:pt idx="969">
                  <c:v>0.0339783573620836</c:v>
                </c:pt>
                <c:pt idx="970">
                  <c:v>0.05164849912528</c:v>
                </c:pt>
                <c:pt idx="971">
                  <c:v>0.05164849912528</c:v>
                </c:pt>
                <c:pt idx="972">
                  <c:v>0.05164849912528</c:v>
                </c:pt>
                <c:pt idx="973">
                  <c:v>0.0667447405829511</c:v>
                </c:pt>
                <c:pt idx="974">
                  <c:v>0.0641994506875878</c:v>
                </c:pt>
                <c:pt idx="975">
                  <c:v>0.06597174120404241</c:v>
                </c:pt>
                <c:pt idx="976">
                  <c:v>0.0681103693636596</c:v>
                </c:pt>
                <c:pt idx="977">
                  <c:v>0.0720611974886894</c:v>
                </c:pt>
                <c:pt idx="978">
                  <c:v>0.0720611974886894</c:v>
                </c:pt>
                <c:pt idx="979">
                  <c:v>0.0720611974886894</c:v>
                </c:pt>
                <c:pt idx="980">
                  <c:v>0.0754986968053035</c:v>
                </c:pt>
                <c:pt idx="981">
                  <c:v>0.0864515081738824</c:v>
                </c:pt>
                <c:pt idx="982">
                  <c:v>0.100920186504302</c:v>
                </c:pt>
                <c:pt idx="983">
                  <c:v>0.0958031731824475</c:v>
                </c:pt>
                <c:pt idx="984">
                  <c:v>0.09318666824439809</c:v>
                </c:pt>
                <c:pt idx="985">
                  <c:v>0.09318666824439809</c:v>
                </c:pt>
                <c:pt idx="986">
                  <c:v>0.09318666824439809</c:v>
                </c:pt>
                <c:pt idx="987">
                  <c:v>0.0980028576159251</c:v>
                </c:pt>
                <c:pt idx="988">
                  <c:v>0.0968181171168574</c:v>
                </c:pt>
                <c:pt idx="989">
                  <c:v>0.0964818411365464</c:v>
                </c:pt>
                <c:pt idx="990">
                  <c:v>0.103858869539394</c:v>
                </c:pt>
                <c:pt idx="991">
                  <c:v>0.11863707933627801</c:v>
                </c:pt>
                <c:pt idx="992">
                  <c:v>0.11863707933627801</c:v>
                </c:pt>
                <c:pt idx="993">
                  <c:v>0.11863707933627801</c:v>
                </c:pt>
                <c:pt idx="994">
                  <c:v>0.123365778902817</c:v>
                </c:pt>
                <c:pt idx="995">
                  <c:v>0.136675113656233</c:v>
                </c:pt>
                <c:pt idx="996">
                  <c:v>0.124001531241672</c:v>
                </c:pt>
                <c:pt idx="997">
                  <c:v>0.111643285304333</c:v>
                </c:pt>
                <c:pt idx="998">
                  <c:v>0.10866096102765299</c:v>
                </c:pt>
                <c:pt idx="999">
                  <c:v>0.10866096102765299</c:v>
                </c:pt>
                <c:pt idx="1000">
                  <c:v>0.10866096102765299</c:v>
                </c:pt>
                <c:pt idx="1001">
                  <c:v>0.12538778854275098</c:v>
                </c:pt>
                <c:pt idx="1002">
                  <c:v>0.124880575727812</c:v>
                </c:pt>
                <c:pt idx="1003">
                  <c:v>0.147323680264573</c:v>
                </c:pt>
                <c:pt idx="1004">
                  <c:v>0.146190666557792</c:v>
                </c:pt>
                <c:pt idx="1005">
                  <c:v>0.142040083866159</c:v>
                </c:pt>
                <c:pt idx="1006">
                  <c:v>0.142040083866159</c:v>
                </c:pt>
                <c:pt idx="1007">
                  <c:v>0.142040083866159</c:v>
                </c:pt>
                <c:pt idx="1008">
                  <c:v>0.145679929272036</c:v>
                </c:pt>
                <c:pt idx="1009">
                  <c:v>0.142672726377823</c:v>
                </c:pt>
                <c:pt idx="1010">
                  <c:v>0.158339310142421</c:v>
                </c:pt>
                <c:pt idx="1011">
                  <c:v>0.159798130077969</c:v>
                </c:pt>
                <c:pt idx="1012">
                  <c:v>0.15942837162489598</c:v>
                </c:pt>
                <c:pt idx="1013">
                  <c:v>0.15942837162489598</c:v>
                </c:pt>
                <c:pt idx="1014">
                  <c:v>0.15942837162489598</c:v>
                </c:pt>
                <c:pt idx="1015">
                  <c:v>0.16662119459709898</c:v>
                </c:pt>
                <c:pt idx="1016">
                  <c:v>0.17561699171404602</c:v>
                </c:pt>
                <c:pt idx="1017">
                  <c:v>0.17887225515723698</c:v>
                </c:pt>
                <c:pt idx="1018">
                  <c:v>0.166527899781353</c:v>
                </c:pt>
                <c:pt idx="1019">
                  <c:v>0.151039094471204</c:v>
                </c:pt>
                <c:pt idx="1020">
                  <c:v>0.151039094471204</c:v>
                </c:pt>
                <c:pt idx="1021">
                  <c:v>0.151039094471204</c:v>
                </c:pt>
                <c:pt idx="1022">
                  <c:v>0.134296821481055</c:v>
                </c:pt>
                <c:pt idx="1023">
                  <c:v>0.15024494826739299</c:v>
                </c:pt>
                <c:pt idx="1024">
                  <c:v>0.153877019105291</c:v>
                </c:pt>
                <c:pt idx="1025">
                  <c:v>0.147440402445162</c:v>
                </c:pt>
                <c:pt idx="1026">
                  <c:v>0.139449494154706</c:v>
                </c:pt>
                <c:pt idx="1027">
                  <c:v>0.139449494154706</c:v>
                </c:pt>
                <c:pt idx="1028">
                  <c:v>0.139449494154706</c:v>
                </c:pt>
                <c:pt idx="1029">
                  <c:v>0.146802369566366</c:v>
                </c:pt>
                <c:pt idx="1030">
                  <c:v>0.1489104177586</c:v>
                </c:pt>
                <c:pt idx="1031">
                  <c:v>0.167272703393725</c:v>
                </c:pt>
                <c:pt idx="1032">
                  <c:v>0.168024141304106</c:v>
                </c:pt>
                <c:pt idx="1033">
                  <c:v>0.169436106509968</c:v>
                </c:pt>
                <c:pt idx="1034">
                  <c:v>0.169436106509968</c:v>
                </c:pt>
                <c:pt idx="1035">
                  <c:v>0.169436106509968</c:v>
                </c:pt>
                <c:pt idx="1036">
                  <c:v>0.167068906051773</c:v>
                </c:pt>
                <c:pt idx="1037">
                  <c:v>0.16800537868005003</c:v>
                </c:pt>
                <c:pt idx="1038">
                  <c:v>0.18319149414355698</c:v>
                </c:pt>
                <c:pt idx="1039">
                  <c:v>0.16134402517488</c:v>
                </c:pt>
                <c:pt idx="1040">
                  <c:v>0.169139118013177</c:v>
                </c:pt>
                <c:pt idx="1041">
                  <c:v>0.169139118013177</c:v>
                </c:pt>
                <c:pt idx="1042">
                  <c:v>0.169139118013177</c:v>
                </c:pt>
                <c:pt idx="1043">
                  <c:v>0.166332498972818</c:v>
                </c:pt>
                <c:pt idx="1044">
                  <c:v>0.163082003931322</c:v>
                </c:pt>
                <c:pt idx="1045">
                  <c:v>0.127907577855144</c:v>
                </c:pt>
                <c:pt idx="1046">
                  <c:v>0.124604112090485</c:v>
                </c:pt>
                <c:pt idx="1047">
                  <c:v>0.115812734280928</c:v>
                </c:pt>
                <c:pt idx="1048">
                  <c:v>0.115812734280928</c:v>
                </c:pt>
                <c:pt idx="1049">
                  <c:v>0.115812734280928</c:v>
                </c:pt>
                <c:pt idx="1050">
                  <c:v>0.13574797050953</c:v>
                </c:pt>
                <c:pt idx="1051">
                  <c:v>0.130389530936706</c:v>
                </c:pt>
                <c:pt idx="1052">
                  <c:v>0.0944628376628968</c:v>
                </c:pt>
                <c:pt idx="1053">
                  <c:v>0.0820026930545818</c:v>
                </c:pt>
                <c:pt idx="1054">
                  <c:v>0.093419905283763</c:v>
                </c:pt>
                <c:pt idx="1055">
                  <c:v>0.093419905283763</c:v>
                </c:pt>
                <c:pt idx="1056">
                  <c:v>0.093419905283763</c:v>
                </c:pt>
                <c:pt idx="1057">
                  <c:v>0.0909911302471758</c:v>
                </c:pt>
                <c:pt idx="1058">
                  <c:v>0.0715292097171245</c:v>
                </c:pt>
                <c:pt idx="1059">
                  <c:v>0.113187729148555</c:v>
                </c:pt>
                <c:pt idx="1060">
                  <c:v>0.0914243291749564</c:v>
                </c:pt>
                <c:pt idx="1061">
                  <c:v>0.0661843497230368</c:v>
                </c:pt>
                <c:pt idx="1062">
                  <c:v>0.0661843497230368</c:v>
                </c:pt>
                <c:pt idx="1063">
                  <c:v>0.0661843497230368</c:v>
                </c:pt>
                <c:pt idx="1064">
                  <c:v>0.0355760829121868</c:v>
                </c:pt>
                <c:pt idx="1065">
                  <c:v>0.05438162258301191</c:v>
                </c:pt>
                <c:pt idx="1066">
                  <c:v>0.0435178559330172</c:v>
                </c:pt>
                <c:pt idx="1067">
                  <c:v>0.0757561904967624</c:v>
                </c:pt>
                <c:pt idx="1068">
                  <c:v>0.0814884312980087</c:v>
                </c:pt>
                <c:pt idx="1069">
                  <c:v>0.0814884312980087</c:v>
                </c:pt>
                <c:pt idx="1070">
                  <c:v>0.0814884312980087</c:v>
                </c:pt>
                <c:pt idx="1071">
                  <c:v>0.0842971235564948</c:v>
                </c:pt>
                <c:pt idx="1072">
                  <c:v>0.10876254871591</c:v>
                </c:pt>
                <c:pt idx="1073">
                  <c:v>0.110709093215997</c:v>
                </c:pt>
                <c:pt idx="1074">
                  <c:v>0.131139724916211</c:v>
                </c:pt>
                <c:pt idx="1075">
                  <c:v>0.133811170134644</c:v>
                </c:pt>
                <c:pt idx="1076">
                  <c:v>0.133811170134644</c:v>
                </c:pt>
                <c:pt idx="1077">
                  <c:v>0.133811170134644</c:v>
                </c:pt>
                <c:pt idx="1078">
                  <c:v>0.150692763382974</c:v>
                </c:pt>
                <c:pt idx="1079">
                  <c:v>0.142381853874508</c:v>
                </c:pt>
                <c:pt idx="1080">
                  <c:v>0.15028143690644</c:v>
                </c:pt>
                <c:pt idx="1081">
                  <c:v>0.134852754921994</c:v>
                </c:pt>
                <c:pt idx="1082">
                  <c:v>0.153113556529769</c:v>
                </c:pt>
                <c:pt idx="1083">
                  <c:v>0.153113556529769</c:v>
                </c:pt>
                <c:pt idx="1084">
                  <c:v>0.153113556529769</c:v>
                </c:pt>
                <c:pt idx="1085">
                  <c:v>0.144404796462601</c:v>
                </c:pt>
                <c:pt idx="1086">
                  <c:v>0.147647931579744</c:v>
                </c:pt>
                <c:pt idx="1087">
                  <c:v>0.133531078365593</c:v>
                </c:pt>
                <c:pt idx="1088">
                  <c:v>0.125397429007045</c:v>
                </c:pt>
                <c:pt idx="1089">
                  <c:v>0.133699941982093</c:v>
                </c:pt>
                <c:pt idx="1090">
                  <c:v>0.133699941982093</c:v>
                </c:pt>
                <c:pt idx="1091">
                  <c:v>0.133699941982093</c:v>
                </c:pt>
                <c:pt idx="1092">
                  <c:v>0.132275330145652</c:v>
                </c:pt>
                <c:pt idx="1093">
                  <c:v>0.09149492225220421</c:v>
                </c:pt>
                <c:pt idx="1094">
                  <c:v>0.0854156247363828</c:v>
                </c:pt>
                <c:pt idx="1095">
                  <c:v>0.0869181895744252</c:v>
                </c:pt>
                <c:pt idx="1096">
                  <c:v>0.0622133077212621</c:v>
                </c:pt>
                <c:pt idx="1097">
                  <c:v>0.0622133077212621</c:v>
                </c:pt>
                <c:pt idx="1098">
                  <c:v>0.0622133077212621</c:v>
                </c:pt>
                <c:pt idx="1099">
                  <c:v>0.078689586825629</c:v>
                </c:pt>
                <c:pt idx="1100">
                  <c:v>0.0784620511361152</c:v>
                </c:pt>
                <c:pt idx="1101">
                  <c:v>0.106811961440474</c:v>
                </c:pt>
                <c:pt idx="1102">
                  <c:v>0.120201218752713</c:v>
                </c:pt>
                <c:pt idx="1103">
                  <c:v>0.12487062428079901</c:v>
                </c:pt>
                <c:pt idx="1104">
                  <c:v>0.12487062428079901</c:v>
                </c:pt>
                <c:pt idx="1105">
                  <c:v>0.12487062428079901</c:v>
                </c:pt>
                <c:pt idx="1106">
                  <c:v>0.123461976223941</c:v>
                </c:pt>
                <c:pt idx="1107">
                  <c:v>0.125690996693926</c:v>
                </c:pt>
                <c:pt idx="1108">
                  <c:v>0.120741810379507</c:v>
                </c:pt>
                <c:pt idx="1109">
                  <c:v>0.149116495640492</c:v>
                </c:pt>
                <c:pt idx="1110">
                  <c:v>0.14185795165364198</c:v>
                </c:pt>
                <c:pt idx="1111">
                  <c:v>0.14185795165364198</c:v>
                </c:pt>
                <c:pt idx="1112">
                  <c:v>0.14185795165364198</c:v>
                </c:pt>
                <c:pt idx="1113">
                  <c:v>0.146129506623025</c:v>
                </c:pt>
                <c:pt idx="1114">
                  <c:v>0.162812589235629</c:v>
                </c:pt>
                <c:pt idx="1115">
                  <c:v>0.16443851055226802</c:v>
                </c:pt>
                <c:pt idx="1116">
                  <c:v>0.180857154192686</c:v>
                </c:pt>
                <c:pt idx="1117">
                  <c:v>0.179932084264111</c:v>
                </c:pt>
                <c:pt idx="1118">
                  <c:v>0.179932084264111</c:v>
                </c:pt>
                <c:pt idx="1119">
                  <c:v>0.179932084264111</c:v>
                </c:pt>
                <c:pt idx="1120">
                  <c:v>0.17912943786597602</c:v>
                </c:pt>
                <c:pt idx="1121">
                  <c:v>0.159809221794953</c:v>
                </c:pt>
                <c:pt idx="1122">
                  <c:v>0.17098791027854301</c:v>
                </c:pt>
                <c:pt idx="1123">
                  <c:v>0.17123628181024</c:v>
                </c:pt>
                <c:pt idx="1124">
                  <c:v>0.188421705175183</c:v>
                </c:pt>
                <c:pt idx="1125">
                  <c:v>0.188421705175183</c:v>
                </c:pt>
                <c:pt idx="1126">
                  <c:v>0.188421705175183</c:v>
                </c:pt>
                <c:pt idx="1127">
                  <c:v>0.192733895219869</c:v>
                </c:pt>
                <c:pt idx="1128">
                  <c:v>0.193833737436608</c:v>
                </c:pt>
                <c:pt idx="1129">
                  <c:v>0.19695279044880898</c:v>
                </c:pt>
                <c:pt idx="1130">
                  <c:v>0.201962203749837</c:v>
                </c:pt>
                <c:pt idx="1131">
                  <c:v>0.214818954985978</c:v>
                </c:pt>
                <c:pt idx="1132">
                  <c:v>0.214818954985978</c:v>
                </c:pt>
                <c:pt idx="1133">
                  <c:v>0.214818954985978</c:v>
                </c:pt>
                <c:pt idx="1134">
                  <c:v>0.22220676412309</c:v>
                </c:pt>
                <c:pt idx="1135">
                  <c:v>0.19603787928906002</c:v>
                </c:pt>
                <c:pt idx="1136">
                  <c:v>0.204316861238359</c:v>
                </c:pt>
                <c:pt idx="1137">
                  <c:v>0.21265130177257402</c:v>
                </c:pt>
                <c:pt idx="1138">
                  <c:v>0.22129247492878001</c:v>
                </c:pt>
                <c:pt idx="1139">
                  <c:v>0.22129247492878001</c:v>
                </c:pt>
                <c:pt idx="1140">
                  <c:v>0.22129247492878001</c:v>
                </c:pt>
                <c:pt idx="1141">
                  <c:v>0.224092977975662</c:v>
                </c:pt>
                <c:pt idx="1142">
                  <c:v>0.225634726636317</c:v>
                </c:pt>
                <c:pt idx="1143">
                  <c:v>0.21128453272189499</c:v>
                </c:pt>
                <c:pt idx="1144">
                  <c:v>0.213049048670371</c:v>
                </c:pt>
                <c:pt idx="1145">
                  <c:v>0.220802988128832</c:v>
                </c:pt>
                <c:pt idx="1146">
                  <c:v>0.220802988128832</c:v>
                </c:pt>
                <c:pt idx="1147">
                  <c:v>0.220802988128832</c:v>
                </c:pt>
                <c:pt idx="1148">
                  <c:v>0.220388551825108</c:v>
                </c:pt>
                <c:pt idx="1149">
                  <c:v>0.23090287755968</c:v>
                </c:pt>
                <c:pt idx="1150">
                  <c:v>0.22276902087932002</c:v>
                </c:pt>
                <c:pt idx="1151">
                  <c:v>0.18845104121169</c:v>
                </c:pt>
                <c:pt idx="1152">
                  <c:v>0.204563263212835</c:v>
                </c:pt>
                <c:pt idx="1153">
                  <c:v>0.204563263212835</c:v>
                </c:pt>
                <c:pt idx="1154">
                  <c:v>0.204563263212835</c:v>
                </c:pt>
                <c:pt idx="1155">
                  <c:v>0.205424167040357</c:v>
                </c:pt>
                <c:pt idx="1156">
                  <c:v>0.21995991397720802</c:v>
                </c:pt>
                <c:pt idx="1157">
                  <c:v>0.23430461386359203</c:v>
                </c:pt>
                <c:pt idx="1158">
                  <c:v>0.250358682096255</c:v>
                </c:pt>
                <c:pt idx="1159">
                  <c:v>0.248337398082665</c:v>
                </c:pt>
                <c:pt idx="1160">
                  <c:v>0.248337398082665</c:v>
                </c:pt>
                <c:pt idx="1161">
                  <c:v>0.248337398082665</c:v>
                </c:pt>
                <c:pt idx="1162">
                  <c:v>0.251584886957876</c:v>
                </c:pt>
                <c:pt idx="1163">
                  <c:v>0.243750921279686</c:v>
                </c:pt>
                <c:pt idx="1164">
                  <c:v>0.238964067944666</c:v>
                </c:pt>
                <c:pt idx="1165">
                  <c:v>0.23611349667999998</c:v>
                </c:pt>
                <c:pt idx="1166">
                  <c:v>0.218605998878921</c:v>
                </c:pt>
                <c:pt idx="1167">
                  <c:v>0.218605998878921</c:v>
                </c:pt>
                <c:pt idx="1168">
                  <c:v>0.218605998878921</c:v>
                </c:pt>
                <c:pt idx="1169">
                  <c:v>0.227329478794796</c:v>
                </c:pt>
                <c:pt idx="1170">
                  <c:v>0.237055359675409</c:v>
                </c:pt>
                <c:pt idx="1171">
                  <c:v>0.23844306822917702</c:v>
                </c:pt>
                <c:pt idx="1172">
                  <c:v>0.23597034096828298</c:v>
                </c:pt>
                <c:pt idx="1173">
                  <c:v>0.23795596563007698</c:v>
                </c:pt>
                <c:pt idx="1174">
                  <c:v>0.23795596563007698</c:v>
                </c:pt>
                <c:pt idx="1175">
                  <c:v>0.23795596563007698</c:v>
                </c:pt>
                <c:pt idx="1176">
                  <c:v>0.238104304387113</c:v>
                </c:pt>
                <c:pt idx="1177">
                  <c:v>0.236631075585578</c:v>
                </c:pt>
                <c:pt idx="1178">
                  <c:v>0.233450447994984</c:v>
                </c:pt>
                <c:pt idx="1179">
                  <c:v>0.236741578111783</c:v>
                </c:pt>
                <c:pt idx="1180">
                  <c:v>0.244460169201168</c:v>
                </c:pt>
                <c:pt idx="1181">
                  <c:v>0.244460169201168</c:v>
                </c:pt>
                <c:pt idx="1182">
                  <c:v>0.244460169201168</c:v>
                </c:pt>
                <c:pt idx="1183">
                  <c:v>0.257429807164363</c:v>
                </c:pt>
                <c:pt idx="1184">
                  <c:v>0.26763366848431397</c:v>
                </c:pt>
                <c:pt idx="1185">
                  <c:v>0.274373596956523</c:v>
                </c:pt>
                <c:pt idx="1186">
                  <c:v>0.27220418150771</c:v>
                </c:pt>
                <c:pt idx="1187">
                  <c:v>0.280717229783625</c:v>
                </c:pt>
                <c:pt idx="1188">
                  <c:v>0.280717229783625</c:v>
                </c:pt>
                <c:pt idx="1189">
                  <c:v>0.280717229783625</c:v>
                </c:pt>
                <c:pt idx="1190">
                  <c:v>0.274832814771806</c:v>
                </c:pt>
                <c:pt idx="1191">
                  <c:v>0.264808079498087</c:v>
                </c:pt>
                <c:pt idx="1192">
                  <c:v>0.275332874984205</c:v>
                </c:pt>
                <c:pt idx="1193">
                  <c:v>0.270686585838242</c:v>
                </c:pt>
                <c:pt idx="1194">
                  <c:v>0.26232612641652503</c:v>
                </c:pt>
                <c:pt idx="1195">
                  <c:v>0.26232612641652503</c:v>
                </c:pt>
                <c:pt idx="1196">
                  <c:v>0.26232612641652503</c:v>
                </c:pt>
                <c:pt idx="1197">
                  <c:v>0.265079982055534</c:v>
                </c:pt>
                <c:pt idx="1198">
                  <c:v>0.25707549418634096</c:v>
                </c:pt>
                <c:pt idx="1199">
                  <c:v>0.230452678243253</c:v>
                </c:pt>
                <c:pt idx="1200">
                  <c:v>0.228491828538085</c:v>
                </c:pt>
                <c:pt idx="1201">
                  <c:v>0.22545674086005502</c:v>
                </c:pt>
                <c:pt idx="1202">
                  <c:v>0.22545674086005502</c:v>
                </c:pt>
                <c:pt idx="1203">
                  <c:v>0.22545674086005502</c:v>
                </c:pt>
                <c:pt idx="1204">
                  <c:v>0.237964154841681</c:v>
                </c:pt>
                <c:pt idx="1205">
                  <c:v>0.246811613201593</c:v>
                </c:pt>
                <c:pt idx="1206">
                  <c:v>0.24695580552237298</c:v>
                </c:pt>
                <c:pt idx="1207">
                  <c:v>0.243938132876616</c:v>
                </c:pt>
                <c:pt idx="1208">
                  <c:v>0.236683320682395</c:v>
                </c:pt>
                <c:pt idx="1209">
                  <c:v>0.236683320682395</c:v>
                </c:pt>
                <c:pt idx="1210">
                  <c:v>0.236683320682395</c:v>
                </c:pt>
                <c:pt idx="1211">
                  <c:v>0.22554765147495398</c:v>
                </c:pt>
                <c:pt idx="1212">
                  <c:v>0.21843485472247998</c:v>
                </c:pt>
                <c:pt idx="1213">
                  <c:v>0.21843485472247998</c:v>
                </c:pt>
                <c:pt idx="1214">
                  <c:v>0.224089142522125</c:v>
                </c:pt>
                <c:pt idx="1215">
                  <c:v>0.238034644258023</c:v>
                </c:pt>
                <c:pt idx="1216">
                  <c:v>0.238034644258023</c:v>
                </c:pt>
                <c:pt idx="1217">
                  <c:v>0.238034644258023</c:v>
                </c:pt>
                <c:pt idx="1218">
                  <c:v>0.253402269968608</c:v>
                </c:pt>
                <c:pt idx="1219">
                  <c:v>0.227084735394823</c:v>
                </c:pt>
                <c:pt idx="1220">
                  <c:v>0.220763804306219</c:v>
                </c:pt>
                <c:pt idx="1221">
                  <c:v>0.221605116222435</c:v>
                </c:pt>
                <c:pt idx="1222">
                  <c:v>0.20708170493344402</c:v>
                </c:pt>
                <c:pt idx="1223">
                  <c:v>0.20708170493344402</c:v>
                </c:pt>
                <c:pt idx="1224">
                  <c:v>0.20708170493344402</c:v>
                </c:pt>
                <c:pt idx="1225">
                  <c:v>0.196731889057304</c:v>
                </c:pt>
                <c:pt idx="1226">
                  <c:v>0.197356860661896</c:v>
                </c:pt>
                <c:pt idx="1227">
                  <c:v>0.221054884131347</c:v>
                </c:pt>
                <c:pt idx="1228">
                  <c:v>0.219115077590175</c:v>
                </c:pt>
                <c:pt idx="1229">
                  <c:v>0.227483518901684</c:v>
                </c:pt>
                <c:pt idx="1230">
                  <c:v>0.227483518901684</c:v>
                </c:pt>
                <c:pt idx="1231">
                  <c:v>0.227483518901684</c:v>
                </c:pt>
                <c:pt idx="1232">
                  <c:v>0.231520385579012</c:v>
                </c:pt>
                <c:pt idx="1233">
                  <c:v>0.241168624440743</c:v>
                </c:pt>
                <c:pt idx="1234">
                  <c:v>0.250290265898041</c:v>
                </c:pt>
                <c:pt idx="1235">
                  <c:v>0.258049906706354</c:v>
                </c:pt>
                <c:pt idx="1236">
                  <c:v>0.262176336406799</c:v>
                </c:pt>
                <c:pt idx="1237">
                  <c:v>0.262176336406799</c:v>
                </c:pt>
                <c:pt idx="1238">
                  <c:v>0.262176336406799</c:v>
                </c:pt>
                <c:pt idx="1239">
                  <c:v>0.22960773819531302</c:v>
                </c:pt>
                <c:pt idx="1240">
                  <c:v>0.246956842131437</c:v>
                </c:pt>
                <c:pt idx="1241">
                  <c:v>0.24289613344563998</c:v>
                </c:pt>
                <c:pt idx="1242">
                  <c:v>0.255467298884692</c:v>
                </c:pt>
                <c:pt idx="1243">
                  <c:v>0.248094624239913</c:v>
                </c:pt>
                <c:pt idx="1244">
                  <c:v>0.248094624239913</c:v>
                </c:pt>
                <c:pt idx="1245">
                  <c:v>0.248094624239913</c:v>
                </c:pt>
                <c:pt idx="1246">
                  <c:v>0.236469571893431</c:v>
                </c:pt>
                <c:pt idx="1247">
                  <c:v>0.249923720933066</c:v>
                </c:pt>
                <c:pt idx="1248">
                  <c:v>0.259110254117761</c:v>
                </c:pt>
                <c:pt idx="1249">
                  <c:v>0.273199429869907</c:v>
                </c:pt>
                <c:pt idx="1250">
                  <c:v>0.270182379189588</c:v>
                </c:pt>
                <c:pt idx="1251">
                  <c:v>0.270182379189588</c:v>
                </c:pt>
                <c:pt idx="1252">
                  <c:v>0.270182379189588</c:v>
                </c:pt>
                <c:pt idx="1253">
                  <c:v>0.276097270507884</c:v>
                </c:pt>
                <c:pt idx="1254">
                  <c:v>0.270250484405083</c:v>
                </c:pt>
                <c:pt idx="1255">
                  <c:v>0.271196804819466</c:v>
                </c:pt>
                <c:pt idx="1256">
                  <c:v>0.282361810063414</c:v>
                </c:pt>
                <c:pt idx="1257">
                  <c:v>0.287275026043317</c:v>
                </c:pt>
                <c:pt idx="1258">
                  <c:v>0.287275026043317</c:v>
                </c:pt>
                <c:pt idx="1259">
                  <c:v>0.287275026043317</c:v>
                </c:pt>
                <c:pt idx="1260">
                  <c:v>0.28944070969950003</c:v>
                </c:pt>
                <c:pt idx="1261">
                  <c:v>0.291669730169485</c:v>
                </c:pt>
                <c:pt idx="1262">
                  <c:v>0.278529984658913</c:v>
                </c:pt>
                <c:pt idx="1263">
                  <c:v>0.27770660607950204</c:v>
                </c:pt>
                <c:pt idx="1264">
                  <c:v>0.272871446762106</c:v>
                </c:pt>
                <c:pt idx="1265">
                  <c:v>0.272871446762106</c:v>
                </c:pt>
                <c:pt idx="1266">
                  <c:v>0.272871446762106</c:v>
                </c:pt>
                <c:pt idx="1267">
                  <c:v>0.260375642801995</c:v>
                </c:pt>
                <c:pt idx="1268">
                  <c:v>0.247536824902658</c:v>
                </c:pt>
                <c:pt idx="1269">
                  <c:v>0.253134099203792</c:v>
                </c:pt>
                <c:pt idx="1270">
                  <c:v>0.232987913030697</c:v>
                </c:pt>
                <c:pt idx="1271">
                  <c:v>0.237359189792022</c:v>
                </c:pt>
                <c:pt idx="1272">
                  <c:v>0.237359189792022</c:v>
                </c:pt>
                <c:pt idx="1273">
                  <c:v>0.237359189792022</c:v>
                </c:pt>
                <c:pt idx="1274">
                  <c:v>0.223580582115403</c:v>
                </c:pt>
                <c:pt idx="1275">
                  <c:v>0.212560080174955</c:v>
                </c:pt>
                <c:pt idx="1276">
                  <c:v>0.230986531911133</c:v>
                </c:pt>
                <c:pt idx="1277">
                  <c:v>0.22014878414864</c:v>
                </c:pt>
                <c:pt idx="1278">
                  <c:v>0.22559844531908302</c:v>
                </c:pt>
                <c:pt idx="1279">
                  <c:v>0.22559844531908302</c:v>
                </c:pt>
                <c:pt idx="1280">
                  <c:v>0.22559844531908302</c:v>
                </c:pt>
                <c:pt idx="1281">
                  <c:v>0.19344075894050503</c:v>
                </c:pt>
                <c:pt idx="1282">
                  <c:v>0.18604952899348198</c:v>
                </c:pt>
                <c:pt idx="1283">
                  <c:v>0.187041149223955</c:v>
                </c:pt>
                <c:pt idx="1284">
                  <c:v>0.17405119372310998</c:v>
                </c:pt>
                <c:pt idx="1285">
                  <c:v>0.19507911956590998</c:v>
                </c:pt>
                <c:pt idx="1286">
                  <c:v>0.19507911956590998</c:v>
                </c:pt>
                <c:pt idx="1287">
                  <c:v>0.19507911956590998</c:v>
                </c:pt>
                <c:pt idx="1288">
                  <c:v>0.20469926632201102</c:v>
                </c:pt>
                <c:pt idx="1289">
                  <c:v>0.196835031659156</c:v>
                </c:pt>
                <c:pt idx="1290">
                  <c:v>0.20825276219286898</c:v>
                </c:pt>
                <c:pt idx="1291">
                  <c:v>0.203066296063737</c:v>
                </c:pt>
                <c:pt idx="1292">
                  <c:v>0.20014544270454301</c:v>
                </c:pt>
                <c:pt idx="1293">
                  <c:v>0.20014544270454301</c:v>
                </c:pt>
                <c:pt idx="1294">
                  <c:v>0.20014544270454301</c:v>
                </c:pt>
                <c:pt idx="1295">
                  <c:v>0.215222610555439</c:v>
                </c:pt>
                <c:pt idx="1296">
                  <c:v>0.213675575188558</c:v>
                </c:pt>
                <c:pt idx="1297">
                  <c:v>0.203839606425365</c:v>
                </c:pt>
                <c:pt idx="1298">
                  <c:v>0.19914200513074198</c:v>
                </c:pt>
                <c:pt idx="1299">
                  <c:v>0.18147383292476701</c:v>
                </c:pt>
                <c:pt idx="1300">
                  <c:v>0.18147383292476701</c:v>
                </c:pt>
                <c:pt idx="1301">
                  <c:v>0.18147383292476701</c:v>
                </c:pt>
                <c:pt idx="1302">
                  <c:v>0.17995717020345603</c:v>
                </c:pt>
                <c:pt idx="1303">
                  <c:v>0.188670802333225</c:v>
                </c:pt>
                <c:pt idx="1304">
                  <c:v>0.18872035224647699</c:v>
                </c:pt>
                <c:pt idx="1305">
                  <c:v>0.14670513563617799</c:v>
                </c:pt>
                <c:pt idx="1306">
                  <c:v>0.0858340001545504</c:v>
                </c:pt>
                <c:pt idx="1307">
                  <c:v>0.0858340001545504</c:v>
                </c:pt>
                <c:pt idx="1308">
                  <c:v>0.0858340001545504</c:v>
                </c:pt>
                <c:pt idx="1309">
                  <c:v>0.0655596891011643</c:v>
                </c:pt>
                <c:pt idx="1310">
                  <c:v>0.0572842316226824</c:v>
                </c:pt>
                <c:pt idx="1311">
                  <c:v>0.124211444577101</c:v>
                </c:pt>
                <c:pt idx="1312">
                  <c:v>0.109962009063684</c:v>
                </c:pt>
                <c:pt idx="1313">
                  <c:v>0.136776079379051</c:v>
                </c:pt>
                <c:pt idx="1314">
                  <c:v>0.136776079379051</c:v>
                </c:pt>
                <c:pt idx="1315">
                  <c:v>0.136776079379051</c:v>
                </c:pt>
                <c:pt idx="1316">
                  <c:v>0.15154413040710898</c:v>
                </c:pt>
                <c:pt idx="1317">
                  <c:v>0.15069317802659898</c:v>
                </c:pt>
                <c:pt idx="1318">
                  <c:v>0.134593084351501</c:v>
                </c:pt>
                <c:pt idx="1319">
                  <c:v>0.138269833040051</c:v>
                </c:pt>
                <c:pt idx="1320">
                  <c:v>0.138644774538443</c:v>
                </c:pt>
                <c:pt idx="1321">
                  <c:v>0.138644774538443</c:v>
                </c:pt>
                <c:pt idx="1322">
                  <c:v>0.138644774538443</c:v>
                </c:pt>
                <c:pt idx="1323">
                  <c:v>0.122642640419879</c:v>
                </c:pt>
                <c:pt idx="1324">
                  <c:v>0.135709304991449</c:v>
                </c:pt>
                <c:pt idx="1325">
                  <c:v>0.159285734217711</c:v>
                </c:pt>
                <c:pt idx="1326">
                  <c:v>0.175135175821172</c:v>
                </c:pt>
                <c:pt idx="1327">
                  <c:v>0.18074945051095198</c:v>
                </c:pt>
                <c:pt idx="1328">
                  <c:v>0.18074945051095198</c:v>
                </c:pt>
                <c:pt idx="1329">
                  <c:v>0.18074945051095198</c:v>
                </c:pt>
                <c:pt idx="1330">
                  <c:v>0.178150671587895</c:v>
                </c:pt>
                <c:pt idx="1331">
                  <c:v>0.187673999057432</c:v>
                </c:pt>
                <c:pt idx="1332">
                  <c:v>0.191494525423137</c:v>
                </c:pt>
                <c:pt idx="1333">
                  <c:v>0.198201489727116</c:v>
                </c:pt>
                <c:pt idx="1334">
                  <c:v>0.216795561148917</c:v>
                </c:pt>
                <c:pt idx="1335">
                  <c:v>0.216795561148917</c:v>
                </c:pt>
                <c:pt idx="1336">
                  <c:v>0.216795561148917</c:v>
                </c:pt>
                <c:pt idx="1337">
                  <c:v>0.210563778439804</c:v>
                </c:pt>
                <c:pt idx="1338">
                  <c:v>0.20582782260981802</c:v>
                </c:pt>
                <c:pt idx="1339">
                  <c:v>0.20864107594818598</c:v>
                </c:pt>
                <c:pt idx="1340">
                  <c:v>0.210193605343105</c:v>
                </c:pt>
                <c:pt idx="1341">
                  <c:v>0.21024947857164603</c:v>
                </c:pt>
                <c:pt idx="1342">
                  <c:v>0.21024947857164603</c:v>
                </c:pt>
                <c:pt idx="1343">
                  <c:v>0.21024947857164603</c:v>
                </c:pt>
                <c:pt idx="1344">
                  <c:v>0.244969766216954</c:v>
                </c:pt>
                <c:pt idx="1345">
                  <c:v>0.254141268570223</c:v>
                </c:pt>
                <c:pt idx="1346">
                  <c:v>0.26592989782698</c:v>
                </c:pt>
                <c:pt idx="1347">
                  <c:v>0.270853272575708</c:v>
                </c:pt>
                <c:pt idx="1348">
                  <c:v>0.272843976621915</c:v>
                </c:pt>
                <c:pt idx="1349">
                  <c:v>0.272843976621915</c:v>
                </c:pt>
                <c:pt idx="1350">
                  <c:v>0.272843976621915</c:v>
                </c:pt>
                <c:pt idx="1351">
                  <c:v>0.275353710826388</c:v>
                </c:pt>
                <c:pt idx="1352">
                  <c:v>0.277477515476392</c:v>
                </c:pt>
                <c:pt idx="1353">
                  <c:v>0.26581835869171</c:v>
                </c:pt>
                <c:pt idx="1354">
                  <c:v>0.265638921662758</c:v>
                </c:pt>
                <c:pt idx="1355">
                  <c:v>0.264166729470287</c:v>
                </c:pt>
                <c:pt idx="1356">
                  <c:v>0.264166729470287</c:v>
                </c:pt>
                <c:pt idx="1357">
                  <c:v>0.264166729470287</c:v>
                </c:pt>
                <c:pt idx="1358">
                  <c:v>0.268137875132968</c:v>
                </c:pt>
                <c:pt idx="1359">
                  <c:v>0.28412228323654104</c:v>
                </c:pt>
                <c:pt idx="1360">
                  <c:v>0.268296061676111</c:v>
                </c:pt>
                <c:pt idx="1361">
                  <c:v>0.277964203431867</c:v>
                </c:pt>
                <c:pt idx="1362">
                  <c:v>0.274832814771806</c:v>
                </c:pt>
                <c:pt idx="1363">
                  <c:v>0.274832814771806</c:v>
                </c:pt>
                <c:pt idx="1364">
                  <c:v>0.274832814771806</c:v>
                </c:pt>
                <c:pt idx="1365">
                  <c:v>0.28609070018787497</c:v>
                </c:pt>
                <c:pt idx="1366">
                  <c:v>0.284708796644864</c:v>
                </c:pt>
                <c:pt idx="1367">
                  <c:v>0.292139417736313</c:v>
                </c:pt>
                <c:pt idx="1368">
                  <c:v>0.287585283136125</c:v>
                </c:pt>
                <c:pt idx="1369">
                  <c:v>0.29927242836553203</c:v>
                </c:pt>
                <c:pt idx="1370">
                  <c:v>0.29927242836553203</c:v>
                </c:pt>
                <c:pt idx="1371">
                  <c:v>0.29927242836553203</c:v>
                </c:pt>
                <c:pt idx="1372">
                  <c:v>0.297084975919007</c:v>
                </c:pt>
                <c:pt idx="1373">
                  <c:v>0.308441753839766</c:v>
                </c:pt>
                <c:pt idx="1374">
                  <c:v>0.306432598152224</c:v>
                </c:pt>
                <c:pt idx="1375">
                  <c:v>0.31031501007904</c:v>
                </c:pt>
                <c:pt idx="1376">
                  <c:v>0.289445789083913</c:v>
                </c:pt>
                <c:pt idx="1377">
                  <c:v>0.289445789083913</c:v>
                </c:pt>
                <c:pt idx="1378">
                  <c:v>0.289445789083913</c:v>
                </c:pt>
                <c:pt idx="1379">
                  <c:v>0.300266743779571</c:v>
                </c:pt>
                <c:pt idx="1380">
                  <c:v>0.28645838542282</c:v>
                </c:pt>
                <c:pt idx="1381">
                  <c:v>0.284214852425942</c:v>
                </c:pt>
                <c:pt idx="1382">
                  <c:v>0.283060484572445</c:v>
                </c:pt>
                <c:pt idx="1383">
                  <c:v>0.279349527784789</c:v>
                </c:pt>
                <c:pt idx="1384">
                  <c:v>0.279349527784789</c:v>
                </c:pt>
                <c:pt idx="1385">
                  <c:v>0.279349527784789</c:v>
                </c:pt>
                <c:pt idx="1386">
                  <c:v>0.286680427084296</c:v>
                </c:pt>
                <c:pt idx="1387">
                  <c:v>0.30529212086018204</c:v>
                </c:pt>
                <c:pt idx="1388">
                  <c:v>0.30204660154219204</c:v>
                </c:pt>
                <c:pt idx="1389">
                  <c:v>0.31612914299633</c:v>
                </c:pt>
                <c:pt idx="1390">
                  <c:v>0.32512887922771905</c:v>
                </c:pt>
                <c:pt idx="1391">
                  <c:v>0.32512887922771905</c:v>
                </c:pt>
                <c:pt idx="1392">
                  <c:v>0.32512887922771905</c:v>
                </c:pt>
                <c:pt idx="1393">
                  <c:v>0.33083105836611404</c:v>
                </c:pt>
                <c:pt idx="1394">
                  <c:v>0.332533481431666</c:v>
                </c:pt>
                <c:pt idx="1395">
                  <c:v>0.34425638967377403</c:v>
                </c:pt>
                <c:pt idx="1396">
                  <c:v>0.356168479070035</c:v>
                </c:pt>
                <c:pt idx="1397">
                  <c:v>0.356344495289076</c:v>
                </c:pt>
                <c:pt idx="1398">
                  <c:v>0.356344495289076</c:v>
                </c:pt>
                <c:pt idx="1399">
                  <c:v>0.356344495289076</c:v>
                </c:pt>
                <c:pt idx="1400">
                  <c:v>0.34161593906634996</c:v>
                </c:pt>
                <c:pt idx="1401">
                  <c:v>0.338026265539164</c:v>
                </c:pt>
                <c:pt idx="1402">
                  <c:v>0.34132662147663095</c:v>
                </c:pt>
                <c:pt idx="1403">
                  <c:v>0.34013638694952497</c:v>
                </c:pt>
                <c:pt idx="1404">
                  <c:v>0.328227200058644</c:v>
                </c:pt>
                <c:pt idx="1405">
                  <c:v>0.328227200058644</c:v>
                </c:pt>
                <c:pt idx="1406">
                  <c:v>0.328227200058644</c:v>
                </c:pt>
                <c:pt idx="1407">
                  <c:v>0.328225956127767</c:v>
                </c:pt>
                <c:pt idx="1408">
                  <c:v>0.32736453399571197</c:v>
                </c:pt>
                <c:pt idx="1409">
                  <c:v>0.33072221441441</c:v>
                </c:pt>
                <c:pt idx="1410">
                  <c:v>0.34212543242122995</c:v>
                </c:pt>
                <c:pt idx="1411">
                  <c:v>0.344013719491929</c:v>
                </c:pt>
                <c:pt idx="1412">
                  <c:v>0.344013719491929</c:v>
                </c:pt>
                <c:pt idx="1413">
                  <c:v>0.344013719491929</c:v>
                </c:pt>
                <c:pt idx="1414">
                  <c:v>0.34595798345207496</c:v>
                </c:pt>
                <c:pt idx="1415">
                  <c:v>0.35446636698720296</c:v>
                </c:pt>
                <c:pt idx="1416">
                  <c:v>0.368690198256742</c:v>
                </c:pt>
                <c:pt idx="1417">
                  <c:v>0.36986996303230396</c:v>
                </c:pt>
                <c:pt idx="1418">
                  <c:v>0.371792769184828</c:v>
                </c:pt>
                <c:pt idx="1419">
                  <c:v>0.371792769184828</c:v>
                </c:pt>
                <c:pt idx="1420">
                  <c:v>0.371792769184828</c:v>
                </c:pt>
                <c:pt idx="1421">
                  <c:v>0.364429942326155</c:v>
                </c:pt>
                <c:pt idx="1422">
                  <c:v>0.356594940038901</c:v>
                </c:pt>
                <c:pt idx="1423">
                  <c:v>0.349759954515537</c:v>
                </c:pt>
                <c:pt idx="1424">
                  <c:v>0.346504898394159</c:v>
                </c:pt>
                <c:pt idx="1425">
                  <c:v>0.324536768130452</c:v>
                </c:pt>
                <c:pt idx="1426">
                  <c:v>0.324536768130452</c:v>
                </c:pt>
                <c:pt idx="1427">
                  <c:v>0.324536768130452</c:v>
                </c:pt>
                <c:pt idx="1428">
                  <c:v>0.34012353299713405</c:v>
                </c:pt>
                <c:pt idx="1429">
                  <c:v>0.336957314272528</c:v>
                </c:pt>
                <c:pt idx="1430">
                  <c:v>0.339096875380302</c:v>
                </c:pt>
                <c:pt idx="1431">
                  <c:v>0.35111044880391296</c:v>
                </c:pt>
                <c:pt idx="1432">
                  <c:v>0.36021125441902796</c:v>
                </c:pt>
                <c:pt idx="1433">
                  <c:v>0.36021125441902796</c:v>
                </c:pt>
                <c:pt idx="1434">
                  <c:v>0.36021125441902796</c:v>
                </c:pt>
                <c:pt idx="1435">
                  <c:v>0.35339430589337506</c:v>
                </c:pt>
                <c:pt idx="1436">
                  <c:v>0.37039137739141703</c:v>
                </c:pt>
                <c:pt idx="1437">
                  <c:v>0.372023622023346</c:v>
                </c:pt>
                <c:pt idx="1438">
                  <c:v>0.37327843729513</c:v>
                </c:pt>
                <c:pt idx="1439">
                  <c:v>0.369553071641486</c:v>
                </c:pt>
                <c:pt idx="1440">
                  <c:v>0.369553071641486</c:v>
                </c:pt>
                <c:pt idx="1441">
                  <c:v>0.369553071641486</c:v>
                </c:pt>
                <c:pt idx="1442">
                  <c:v>0.36619207407378396</c:v>
                </c:pt>
                <c:pt idx="1443">
                  <c:v>0.359563581075938</c:v>
                </c:pt>
                <c:pt idx="1444">
                  <c:v>0.353353567157166</c:v>
                </c:pt>
                <c:pt idx="1445">
                  <c:v>0.349934623142794</c:v>
                </c:pt>
                <c:pt idx="1446">
                  <c:v>0.374161420895713</c:v>
                </c:pt>
                <c:pt idx="1447">
                  <c:v>0.374161420895713</c:v>
                </c:pt>
                <c:pt idx="1448">
                  <c:v>0.374161420895713</c:v>
                </c:pt>
                <c:pt idx="1449">
                  <c:v>0.36349699416869496</c:v>
                </c:pt>
                <c:pt idx="1450">
                  <c:v>0.366978549370523</c:v>
                </c:pt>
                <c:pt idx="1451">
                  <c:v>0.369903652826878</c:v>
                </c:pt>
                <c:pt idx="1452">
                  <c:v>0.371424047340819</c:v>
                </c:pt>
                <c:pt idx="1453">
                  <c:v>0.369634549113904</c:v>
                </c:pt>
                <c:pt idx="1454">
                  <c:v>0.369634549113904</c:v>
                </c:pt>
                <c:pt idx="1455">
                  <c:v>0.369634549113904</c:v>
                </c:pt>
                <c:pt idx="1456">
                  <c:v>0.370664834862459</c:v>
                </c:pt>
                <c:pt idx="1457">
                  <c:v>0.35741873326193796</c:v>
                </c:pt>
                <c:pt idx="1458">
                  <c:v>0.36754205005762797</c:v>
                </c:pt>
                <c:pt idx="1459">
                  <c:v>0.37620571763051996</c:v>
                </c:pt>
                <c:pt idx="1460">
                  <c:v>0.377475771055542</c:v>
                </c:pt>
                <c:pt idx="1461">
                  <c:v>0.377475771055542</c:v>
                </c:pt>
                <c:pt idx="1462">
                  <c:v>0.377475771055542</c:v>
                </c:pt>
                <c:pt idx="1463">
                  <c:v>0.381284894721544</c:v>
                </c:pt>
                <c:pt idx="1464">
                  <c:v>0.38859775702334</c:v>
                </c:pt>
                <c:pt idx="1465">
                  <c:v>0.38382334299708604</c:v>
                </c:pt>
                <c:pt idx="1466">
                  <c:v>0.397753606579745</c:v>
                </c:pt>
                <c:pt idx="1467">
                  <c:v>0.396985064619811</c:v>
                </c:pt>
                <c:pt idx="1468">
                  <c:v>0.396985064619811</c:v>
                </c:pt>
                <c:pt idx="1469">
                  <c:v>0.396985064619811</c:v>
                </c:pt>
                <c:pt idx="1470">
                  <c:v>0.401343072785119</c:v>
                </c:pt>
                <c:pt idx="1471">
                  <c:v>0.405684806188124</c:v>
                </c:pt>
                <c:pt idx="1472">
                  <c:v>0.403061355969347</c:v>
                </c:pt>
                <c:pt idx="1473">
                  <c:v>0.411205267757627</c:v>
                </c:pt>
                <c:pt idx="1474">
                  <c:v>0.413233808034664</c:v>
                </c:pt>
                <c:pt idx="1475">
                  <c:v>0.413233808034664</c:v>
                </c:pt>
                <c:pt idx="1476">
                  <c:v>0.413233808034664</c:v>
                </c:pt>
                <c:pt idx="1477">
                  <c:v>0.419837111432259</c:v>
                </c:pt>
                <c:pt idx="1478">
                  <c:v>0.42068930774364505</c:v>
                </c:pt>
                <c:pt idx="1479">
                  <c:v>0.41917451091865</c:v>
                </c:pt>
                <c:pt idx="1480">
                  <c:v>0.404374946975051</c:v>
                </c:pt>
                <c:pt idx="1481">
                  <c:v>0.408008780048357</c:v>
                </c:pt>
                <c:pt idx="1482">
                  <c:v>0.408008780048357</c:v>
                </c:pt>
                <c:pt idx="1483">
                  <c:v>0.408008780048357</c:v>
                </c:pt>
                <c:pt idx="1484">
                  <c:v>0.417815101792324</c:v>
                </c:pt>
                <c:pt idx="1485">
                  <c:v>0.421500247014291</c:v>
                </c:pt>
              </c:numCache>
            </c:numRef>
          </c:val>
          <c:smooth val="0"/>
          <c:extLst>
            <c:ext xmlns:c16="http://schemas.microsoft.com/office/drawing/2014/chart" uri="{C3380CC4-5D6E-409C-BE32-E72D297353CC}">
              <c16:uniqueId val="{00000000-1D55-4091-B462-1B341D70D85C}"/>
            </c:ext>
          </c:extLst>
        </c:ser>
        <c:ser>
          <c:idx val="1"/>
          <c:order val="1"/>
          <c:tx>
            <c:strRef>
              <c:f>Sheet1!$C$1</c:f>
              <c:strCache>
                <c:ptCount val="1"/>
                <c:pt idx="0">
                  <c:v>Benchmark return USD </c:v>
                </c:pt>
              </c:strCache>
            </c:strRef>
          </c:tx>
          <c:spPr>
            <a:ln w="12700" cap="rnd">
              <a:solidFill>
                <a:schemeClr val="tx1"/>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C$2:$C$1487</c:f>
              <c:numCache>
                <c:formatCode>General</c:formatCode>
                <c:ptCount val="1486"/>
                <c:pt idx="0">
                  <c:v>0.0</c:v>
                </c:pt>
                <c:pt idx="1">
                  <c:v>-0.001519542575568189</c:v>
                </c:pt>
                <c:pt idx="2">
                  <c:v>-0.0068382140629814625</c:v>
                </c:pt>
                <c:pt idx="3">
                  <c:v>-0.009497627656095076</c:v>
                </c:pt>
                <c:pt idx="4">
                  <c:v>-0.01529094697809208</c:v>
                </c:pt>
                <c:pt idx="5">
                  <c:v>-0.01529094697809208</c:v>
                </c:pt>
                <c:pt idx="6">
                  <c:v>-0.01529094697809208</c:v>
                </c:pt>
                <c:pt idx="7">
                  <c:v>-0.011682082016996942</c:v>
                </c:pt>
                <c:pt idx="8">
                  <c:v>-0.017570533314368975</c:v>
                </c:pt>
                <c:pt idx="9">
                  <c:v>-0.011682082016996831</c:v>
                </c:pt>
                <c:pt idx="10">
                  <c:v>-0.014246363634735526</c:v>
                </c:pt>
                <c:pt idx="11">
                  <c:v>-0.024028764421699655</c:v>
                </c:pt>
                <c:pt idx="12">
                  <c:v>-0.024028764421699655</c:v>
                </c:pt>
                <c:pt idx="13">
                  <c:v>-0.024028764421699655</c:v>
                </c:pt>
                <c:pt idx="14">
                  <c:v>-0.0412193926298251</c:v>
                </c:pt>
                <c:pt idx="15">
                  <c:v>-0.038940195540583145</c:v>
                </c:pt>
                <c:pt idx="16">
                  <c:v>-0.03010732397100757</c:v>
                </c:pt>
                <c:pt idx="17">
                  <c:v>-0.019470058845587945</c:v>
                </c:pt>
                <c:pt idx="18">
                  <c:v>-0.022224370865855603</c:v>
                </c:pt>
                <c:pt idx="19">
                  <c:v>-0.022224370865855603</c:v>
                </c:pt>
                <c:pt idx="20">
                  <c:v>-0.022224370865855603</c:v>
                </c:pt>
                <c:pt idx="21">
                  <c:v>-0.02326910990802611</c:v>
                </c:pt>
                <c:pt idx="22">
                  <c:v>-0.042549138351085425</c:v>
                </c:pt>
                <c:pt idx="23">
                  <c:v>-0.04416381290202864</c:v>
                </c:pt>
                <c:pt idx="24">
                  <c:v>-0.051002026965010216</c:v>
                </c:pt>
                <c:pt idx="25">
                  <c:v>-0.04302401973389014</c:v>
                </c:pt>
                <c:pt idx="26">
                  <c:v>-0.04302401973389014</c:v>
                </c:pt>
                <c:pt idx="27">
                  <c:v>-0.04302401973389014</c:v>
                </c:pt>
                <c:pt idx="28">
                  <c:v>-0.0548011558768553</c:v>
                </c:pt>
                <c:pt idx="29">
                  <c:v>-0.04663311824320637</c:v>
                </c:pt>
                <c:pt idx="30">
                  <c:v>-0.04587330803071876</c:v>
                </c:pt>
                <c:pt idx="31">
                  <c:v>-0.035425917609014035</c:v>
                </c:pt>
                <c:pt idx="32">
                  <c:v>-0.03647073450059157</c:v>
                </c:pt>
                <c:pt idx="33">
                  <c:v>-0.03647073450059157</c:v>
                </c:pt>
                <c:pt idx="34">
                  <c:v>-0.03647073450059157</c:v>
                </c:pt>
                <c:pt idx="35">
                  <c:v>-0.042169233244841675</c:v>
                </c:pt>
                <c:pt idx="36">
                  <c:v>-0.04340400268954103</c:v>
                </c:pt>
                <c:pt idx="37">
                  <c:v>-0.036185649972094724</c:v>
                </c:pt>
                <c:pt idx="38">
                  <c:v>-0.023743991290830935</c:v>
                </c:pt>
                <c:pt idx="39">
                  <c:v>-0.015765906210303826</c:v>
                </c:pt>
                <c:pt idx="40">
                  <c:v>-0.015765906210303826</c:v>
                </c:pt>
                <c:pt idx="41">
                  <c:v>-0.015765906210303826</c:v>
                </c:pt>
                <c:pt idx="42">
                  <c:v>-0.015195970701531114</c:v>
                </c:pt>
                <c:pt idx="43">
                  <c:v>-0.0068382140629813515</c:v>
                </c:pt>
                <c:pt idx="44">
                  <c:v>-0.0038940273389987956</c:v>
                </c:pt>
                <c:pt idx="45">
                  <c:v>-0.003704152635284008</c:v>
                </c:pt>
                <c:pt idx="46">
                  <c:v>-0.003609098509316122</c:v>
                </c:pt>
                <c:pt idx="47">
                  <c:v>-0.003609098509316122</c:v>
                </c:pt>
                <c:pt idx="48">
                  <c:v>-0.003609098509316122</c:v>
                </c:pt>
                <c:pt idx="49">
                  <c:v>-0.00018995255312170833</c:v>
                </c:pt>
                <c:pt idx="50">
                  <c:v>-0.0007597323630804675</c:v>
                </c:pt>
                <c:pt idx="51">
                  <c:v>-0.005698498744249991</c:v>
                </c:pt>
                <c:pt idx="52">
                  <c:v>0.002944264573389699</c:v>
                </c:pt>
                <c:pt idx="53">
                  <c:v>0.00019003040252907333</c:v>
                </c:pt>
                <c:pt idx="54">
                  <c:v>0.00019003040252907333</c:v>
                </c:pt>
                <c:pt idx="55">
                  <c:v>0.00019003040252907333</c:v>
                </c:pt>
                <c:pt idx="56">
                  <c:v>0.005223617361445498</c:v>
                </c:pt>
                <c:pt idx="57">
                  <c:v>0.0057934750208110675</c:v>
                </c:pt>
                <c:pt idx="58">
                  <c:v>0.012252017525769876</c:v>
                </c:pt>
                <c:pt idx="59">
                  <c:v>0.014436238338450869</c:v>
                </c:pt>
                <c:pt idx="60">
                  <c:v>0.016430817995637836</c:v>
                </c:pt>
                <c:pt idx="61">
                  <c:v>0.016430817995637836</c:v>
                </c:pt>
                <c:pt idx="62">
                  <c:v>0.016430817995637836</c:v>
                </c:pt>
                <c:pt idx="63">
                  <c:v>0.01833042137626384</c:v>
                </c:pt>
                <c:pt idx="64">
                  <c:v>0.01576590621030416</c:v>
                </c:pt>
                <c:pt idx="65">
                  <c:v>0.00655336308270571</c:v>
                </c:pt>
                <c:pt idx="66">
                  <c:v>0.009877454912932127</c:v>
                </c:pt>
                <c:pt idx="67">
                  <c:v>0.016905699378442662</c:v>
                </c:pt>
                <c:pt idx="68">
                  <c:v>0.016905699378442662</c:v>
                </c:pt>
                <c:pt idx="69">
                  <c:v>0.016905699378442662</c:v>
                </c:pt>
                <c:pt idx="70">
                  <c:v>0.01633576386966995</c:v>
                </c:pt>
                <c:pt idx="71">
                  <c:v>0.018425319803418105</c:v>
                </c:pt>
                <c:pt idx="72">
                  <c:v>0.015576031506589594</c:v>
                </c:pt>
                <c:pt idx="73">
                  <c:v>0.015860960336272267</c:v>
                </c:pt>
                <c:pt idx="74">
                  <c:v>0.012252017525770098</c:v>
                </c:pt>
                <c:pt idx="75">
                  <c:v>0.012252017525770098</c:v>
                </c:pt>
                <c:pt idx="76">
                  <c:v>0.012252017525770098</c:v>
                </c:pt>
                <c:pt idx="77">
                  <c:v>0.006173457976462071</c:v>
                </c:pt>
                <c:pt idx="78">
                  <c:v>0.005888529146779176</c:v>
                </c:pt>
                <c:pt idx="79">
                  <c:v>0.0062682785542089725</c:v>
                </c:pt>
                <c:pt idx="80">
                  <c:v>0.0062682785542089725</c:v>
                </c:pt>
                <c:pt idx="81">
                  <c:v>-0.0182352894008887</c:v>
                </c:pt>
                <c:pt idx="82">
                  <c:v>-0.0182352894008887</c:v>
                </c:pt>
                <c:pt idx="83">
                  <c:v>-0.0182352894008887</c:v>
                </c:pt>
                <c:pt idx="84">
                  <c:v>-0.009402573530126968</c:v>
                </c:pt>
                <c:pt idx="85">
                  <c:v>-0.022889126952375216</c:v>
                </c:pt>
                <c:pt idx="86">
                  <c:v>-0.033716422480323804</c:v>
                </c:pt>
                <c:pt idx="87">
                  <c:v>-0.01975498767527084</c:v>
                </c:pt>
                <c:pt idx="88">
                  <c:v>-0.028112900012634667</c:v>
                </c:pt>
                <c:pt idx="89">
                  <c:v>-0.028112900012634667</c:v>
                </c:pt>
                <c:pt idx="90">
                  <c:v>-0.028112900012634667</c:v>
                </c:pt>
                <c:pt idx="91">
                  <c:v>-0.018330265677449664</c:v>
                </c:pt>
                <c:pt idx="92">
                  <c:v>0.002944264573389699</c:v>
                </c:pt>
                <c:pt idx="93">
                  <c:v>0.0057934750208112895</c:v>
                </c:pt>
                <c:pt idx="94">
                  <c:v>-0.0021844543609017553</c:v>
                </c:pt>
                <c:pt idx="95">
                  <c:v>0.0032291155536654514</c:v>
                </c:pt>
                <c:pt idx="96">
                  <c:v>0.0032291155536654514</c:v>
                </c:pt>
                <c:pt idx="97">
                  <c:v>0.0032291155536654514</c:v>
                </c:pt>
                <c:pt idx="98">
                  <c:v>-0.006773054109308174</c:v>
                </c:pt>
                <c:pt idx="99">
                  <c:v>-0.012143417602980877</c:v>
                </c:pt>
                <c:pt idx="100">
                  <c:v>0.0001316433472662304</c:v>
                </c:pt>
                <c:pt idx="101">
                  <c:v>-0.004663335179142525</c:v>
                </c:pt>
                <c:pt idx="102">
                  <c:v>-0.014445035321443478</c:v>
                </c:pt>
                <c:pt idx="103">
                  <c:v>-0.014445035321443478</c:v>
                </c:pt>
                <c:pt idx="104">
                  <c:v>-0.014445035321443478</c:v>
                </c:pt>
                <c:pt idx="105">
                  <c:v>-0.02374726096592561</c:v>
                </c:pt>
                <c:pt idx="106">
                  <c:v>-0.007827991423797753</c:v>
                </c:pt>
                <c:pt idx="107">
                  <c:v>0.0014742342206843784</c:v>
                </c:pt>
                <c:pt idx="108">
                  <c:v>0.00789945717943974</c:v>
                </c:pt>
                <c:pt idx="109">
                  <c:v>0.00789945717943974</c:v>
                </c:pt>
                <c:pt idx="110">
                  <c:v>0.00789945717943974</c:v>
                </c:pt>
                <c:pt idx="111">
                  <c:v>0.00789945717943974</c:v>
                </c:pt>
                <c:pt idx="112">
                  <c:v>0.018927837725713825</c:v>
                </c:pt>
                <c:pt idx="113">
                  <c:v>0.017872900411224135</c:v>
                </c:pt>
                <c:pt idx="114">
                  <c:v>0.017968888730076182</c:v>
                </c:pt>
                <c:pt idx="115">
                  <c:v>0.016730927459689182</c:v>
                </c:pt>
                <c:pt idx="116">
                  <c:v>0.015099670985051272</c:v>
                </c:pt>
                <c:pt idx="117">
                  <c:v>0.015099670985051272</c:v>
                </c:pt>
                <c:pt idx="118">
                  <c:v>0.015099670985051272</c:v>
                </c:pt>
                <c:pt idx="119">
                  <c:v>0.020473459852632825</c:v>
                </c:pt>
                <c:pt idx="120">
                  <c:v>0.019609876380591196</c:v>
                </c:pt>
                <c:pt idx="121">
                  <c:v>0.0030081789365508094</c:v>
                </c:pt>
                <c:pt idx="122">
                  <c:v>0.0008969808676519975</c:v>
                </c:pt>
                <c:pt idx="123">
                  <c:v>0.0007050042299476811</c:v>
                </c:pt>
                <c:pt idx="124">
                  <c:v>0.0007050042299476811</c:v>
                </c:pt>
                <c:pt idx="125">
                  <c:v>0.0007050042299476811</c:v>
                </c:pt>
                <c:pt idx="126">
                  <c:v>-0.0021737889921403797</c:v>
                </c:pt>
                <c:pt idx="127">
                  <c:v>0.009725648569248735</c:v>
                </c:pt>
                <c:pt idx="128">
                  <c:v>0.015867343987647553</c:v>
                </c:pt>
                <c:pt idx="129">
                  <c:v>0.0022404280845473856</c:v>
                </c:pt>
                <c:pt idx="130">
                  <c:v>0.0025283930411039712</c:v>
                </c:pt>
                <c:pt idx="131">
                  <c:v>0.0025283930411039712</c:v>
                </c:pt>
                <c:pt idx="132">
                  <c:v>0.0025283930411039712</c:v>
                </c:pt>
                <c:pt idx="133">
                  <c:v>0.0025283930411039712</c:v>
                </c:pt>
                <c:pt idx="134">
                  <c:v>-0.014841055254939839</c:v>
                </c:pt>
                <c:pt idx="135">
                  <c:v>-0.020790618336820388</c:v>
                </c:pt>
                <c:pt idx="136">
                  <c:v>-0.028467893308633085</c:v>
                </c:pt>
                <c:pt idx="137">
                  <c:v>-0.04497336888560033</c:v>
                </c:pt>
                <c:pt idx="138">
                  <c:v>-0.04497336888560033</c:v>
                </c:pt>
                <c:pt idx="139">
                  <c:v>-0.04497336888560033</c:v>
                </c:pt>
                <c:pt idx="140">
                  <c:v>-0.04650879274020003</c:v>
                </c:pt>
                <c:pt idx="141">
                  <c:v>-0.05610513344439305</c:v>
                </c:pt>
                <c:pt idx="142">
                  <c:v>-0.060807393327044434</c:v>
                </c:pt>
                <c:pt idx="143">
                  <c:v>-0.06560556367914094</c:v>
                </c:pt>
                <c:pt idx="144">
                  <c:v>-0.05063535625795945</c:v>
                </c:pt>
                <c:pt idx="145">
                  <c:v>-0.05063535625795945</c:v>
                </c:pt>
                <c:pt idx="146">
                  <c:v>-0.05063535625795945</c:v>
                </c:pt>
                <c:pt idx="147">
                  <c:v>-0.03105872157416467</c:v>
                </c:pt>
                <c:pt idx="148">
                  <c:v>-0.023573734637684307</c:v>
                </c:pt>
                <c:pt idx="149">
                  <c:v>-0.01733605090043311</c:v>
                </c:pt>
                <c:pt idx="150">
                  <c:v>-0.0361447790334104</c:v>
                </c:pt>
                <c:pt idx="151">
                  <c:v>-0.03182639457676062</c:v>
                </c:pt>
                <c:pt idx="152">
                  <c:v>-0.03182639457676062</c:v>
                </c:pt>
                <c:pt idx="153">
                  <c:v>-0.03182639457676062</c:v>
                </c:pt>
                <c:pt idx="154">
                  <c:v>-0.033745693857362036</c:v>
                </c:pt>
                <c:pt idx="155">
                  <c:v>-0.026260551222067607</c:v>
                </c:pt>
                <c:pt idx="156">
                  <c:v>-0.010906546224291325</c:v>
                </c:pt>
                <c:pt idx="157">
                  <c:v>-0.025204991112321662</c:v>
                </c:pt>
                <c:pt idx="158">
                  <c:v>-0.043725909987556544</c:v>
                </c:pt>
                <c:pt idx="159">
                  <c:v>-0.043725909987556544</c:v>
                </c:pt>
                <c:pt idx="160">
                  <c:v>-0.043725909987556544</c:v>
                </c:pt>
                <c:pt idx="161">
                  <c:v>-0.0472765435922029</c:v>
                </c:pt>
                <c:pt idx="162">
                  <c:v>-0.030578935678717167</c:v>
                </c:pt>
                <c:pt idx="163">
                  <c:v>-0.02837182714037323</c:v>
                </c:pt>
                <c:pt idx="164">
                  <c:v>-0.0471804774239436</c:v>
                </c:pt>
                <c:pt idx="165">
                  <c:v>-0.05428182248264324</c:v>
                </c:pt>
                <c:pt idx="166">
                  <c:v>-0.05428182248264324</c:v>
                </c:pt>
                <c:pt idx="167">
                  <c:v>-0.05428182248264324</c:v>
                </c:pt>
                <c:pt idx="168">
                  <c:v>-0.05428182248264324</c:v>
                </c:pt>
                <c:pt idx="169">
                  <c:v>-0.06522168825313868</c:v>
                </c:pt>
                <c:pt idx="170">
                  <c:v>-0.07846472873023724</c:v>
                </c:pt>
                <c:pt idx="171">
                  <c:v>-0.07462613016903441</c:v>
                </c:pt>
                <c:pt idx="172">
                  <c:v>-0.054090001543752875</c:v>
                </c:pt>
                <c:pt idx="173">
                  <c:v>-0.054090001543752875</c:v>
                </c:pt>
                <c:pt idx="174">
                  <c:v>-0.054090001543752875</c:v>
                </c:pt>
                <c:pt idx="175">
                  <c:v>-0.06071140500819161</c:v>
                </c:pt>
                <c:pt idx="176">
                  <c:v>-0.07664118422026689</c:v>
                </c:pt>
                <c:pt idx="177">
                  <c:v>-0.06339837729138942</c:v>
                </c:pt>
                <c:pt idx="178">
                  <c:v>-0.07289865182732336</c:v>
                </c:pt>
                <c:pt idx="179">
                  <c:v>-0.08662147819986865</c:v>
                </c:pt>
                <c:pt idx="180">
                  <c:v>-0.08662147819986865</c:v>
                </c:pt>
                <c:pt idx="181">
                  <c:v>-0.08662147819986865</c:v>
                </c:pt>
                <c:pt idx="182">
                  <c:v>-0.1150266248864461</c:v>
                </c:pt>
                <c:pt idx="183">
                  <c:v>-0.11608218499619194</c:v>
                </c:pt>
                <c:pt idx="184">
                  <c:v>-0.08930837263365932</c:v>
                </c:pt>
                <c:pt idx="185">
                  <c:v>-0.09650570601121111</c:v>
                </c:pt>
                <c:pt idx="186">
                  <c:v>-0.10898099563630625</c:v>
                </c:pt>
                <c:pt idx="187">
                  <c:v>-0.10898099563630625</c:v>
                </c:pt>
                <c:pt idx="188">
                  <c:v>-0.10898099563630625</c:v>
                </c:pt>
                <c:pt idx="189">
                  <c:v>-0.11473865992988941</c:v>
                </c:pt>
                <c:pt idx="190">
                  <c:v>-0.10091992308789888</c:v>
                </c:pt>
                <c:pt idx="191">
                  <c:v>-0.07049972235008883</c:v>
                </c:pt>
                <c:pt idx="192">
                  <c:v>-0.06099929211534094</c:v>
                </c:pt>
                <c:pt idx="193">
                  <c:v>-0.050635356257958564</c:v>
                </c:pt>
                <c:pt idx="194">
                  <c:v>-0.050635356257958564</c:v>
                </c:pt>
                <c:pt idx="195">
                  <c:v>-0.050635356257958564</c:v>
                </c:pt>
                <c:pt idx="196">
                  <c:v>-0.05399385752608654</c:v>
                </c:pt>
                <c:pt idx="197">
                  <c:v>-0.04257443940836536</c:v>
                </c:pt>
                <c:pt idx="198">
                  <c:v>-0.05332225069174934</c:v>
                </c:pt>
                <c:pt idx="199">
                  <c:v>-0.04238246277066082</c:v>
                </c:pt>
                <c:pt idx="200">
                  <c:v>-0.040559151808911564</c:v>
                </c:pt>
                <c:pt idx="201">
                  <c:v>-0.040559151808911564</c:v>
                </c:pt>
                <c:pt idx="202">
                  <c:v>-0.040559151808911564</c:v>
                </c:pt>
                <c:pt idx="203">
                  <c:v>-0.03681661941596803</c:v>
                </c:pt>
                <c:pt idx="204">
                  <c:v>-0.02136647040052564</c:v>
                </c:pt>
                <c:pt idx="205">
                  <c:v>-0.02683624758695935</c:v>
                </c:pt>
                <c:pt idx="206">
                  <c:v>-0.04247837324010617</c:v>
                </c:pt>
                <c:pt idx="207">
                  <c:v>-0.036240767352262115</c:v>
                </c:pt>
                <c:pt idx="208">
                  <c:v>-0.036240767352262115</c:v>
                </c:pt>
                <c:pt idx="209">
                  <c:v>-0.036240767352262115</c:v>
                </c:pt>
                <c:pt idx="210">
                  <c:v>-0.02693223590581162</c:v>
                </c:pt>
                <c:pt idx="211">
                  <c:v>-0.04084703891606134</c:v>
                </c:pt>
                <c:pt idx="212">
                  <c:v>-0.051882737306594984</c:v>
                </c:pt>
                <c:pt idx="213">
                  <c:v>-0.04986752755654844</c:v>
                </c:pt>
                <c:pt idx="214">
                  <c:v>-0.05073126672740391</c:v>
                </c:pt>
                <c:pt idx="215">
                  <c:v>-0.05073126672740391</c:v>
                </c:pt>
                <c:pt idx="216">
                  <c:v>-0.05073126672740391</c:v>
                </c:pt>
                <c:pt idx="217">
                  <c:v>-0.06426196076343094</c:v>
                </c:pt>
                <c:pt idx="218">
                  <c:v>-0.06944400654152916</c:v>
                </c:pt>
                <c:pt idx="219">
                  <c:v>-0.05821640936269812</c:v>
                </c:pt>
                <c:pt idx="220">
                  <c:v>-0.06810048147522663</c:v>
                </c:pt>
                <c:pt idx="221">
                  <c:v>-0.06810048147522663</c:v>
                </c:pt>
                <c:pt idx="222">
                  <c:v>-0.06810048147522663</c:v>
                </c:pt>
                <c:pt idx="223">
                  <c:v>-0.06810048147522663</c:v>
                </c:pt>
                <c:pt idx="224">
                  <c:v>-0.06963598317923347</c:v>
                </c:pt>
                <c:pt idx="225">
                  <c:v>-0.0597517553678909</c:v>
                </c:pt>
                <c:pt idx="226">
                  <c:v>-0.05888809404644246</c:v>
                </c:pt>
                <c:pt idx="227">
                  <c:v>-0.0734745817404363</c:v>
                </c:pt>
                <c:pt idx="228">
                  <c:v>-0.09429859747286728</c:v>
                </c:pt>
                <c:pt idx="229">
                  <c:v>-0.09429859747286728</c:v>
                </c:pt>
                <c:pt idx="230">
                  <c:v>-0.09429859747286728</c:v>
                </c:pt>
                <c:pt idx="231">
                  <c:v>-0.0928590840877126</c:v>
                </c:pt>
                <c:pt idx="232">
                  <c:v>-0.11790549595794109</c:v>
                </c:pt>
                <c:pt idx="233">
                  <c:v>-0.11454683899099904</c:v>
                </c:pt>
                <c:pt idx="234">
                  <c:v>-0.09602592011576416</c:v>
                </c:pt>
                <c:pt idx="235">
                  <c:v>-0.11972888476909727</c:v>
                </c:pt>
                <c:pt idx="236">
                  <c:v>-0.11972888476909727</c:v>
                </c:pt>
                <c:pt idx="237">
                  <c:v>-0.11972888476909727</c:v>
                </c:pt>
                <c:pt idx="238">
                  <c:v>-0.11684993584819514</c:v>
                </c:pt>
                <c:pt idx="239">
                  <c:v>-0.11147599128179952</c:v>
                </c:pt>
                <c:pt idx="240">
                  <c:v>-0.09055598723051628</c:v>
                </c:pt>
                <c:pt idx="241">
                  <c:v>-0.12155211788143938</c:v>
                </c:pt>
                <c:pt idx="242">
                  <c:v>-0.13028479726418396</c:v>
                </c:pt>
                <c:pt idx="243">
                  <c:v>-0.13028479726418396</c:v>
                </c:pt>
                <c:pt idx="244">
                  <c:v>-0.13028479726418396</c:v>
                </c:pt>
                <c:pt idx="245">
                  <c:v>-0.1578263604787199</c:v>
                </c:pt>
                <c:pt idx="246">
                  <c:v>-0.15485134538955858</c:v>
                </c:pt>
                <c:pt idx="247">
                  <c:v>-0.1654073357340523</c:v>
                </c:pt>
                <c:pt idx="248">
                  <c:v>-0.16655896201205733</c:v>
                </c:pt>
                <c:pt idx="249">
                  <c:v>-0.14458332000162122</c:v>
                </c:pt>
                <c:pt idx="250">
                  <c:v>-0.14458332000162122</c:v>
                </c:pt>
                <c:pt idx="251">
                  <c:v>-0.14458332000162122</c:v>
                </c:pt>
                <c:pt idx="252">
                  <c:v>-0.14736628060367118</c:v>
                </c:pt>
                <c:pt idx="253">
                  <c:v>-0.13009289847588645</c:v>
                </c:pt>
                <c:pt idx="254">
                  <c:v>-0.15916972984620814</c:v>
                </c:pt>
                <c:pt idx="255">
                  <c:v>-0.15840197899420472</c:v>
                </c:pt>
                <c:pt idx="256">
                  <c:v>-0.15600297166756338</c:v>
                </c:pt>
                <c:pt idx="257">
                  <c:v>-0.15600297166756338</c:v>
                </c:pt>
                <c:pt idx="258">
                  <c:v>-0.15600297166756338</c:v>
                </c:pt>
                <c:pt idx="259">
                  <c:v>-0.1423762893126842</c:v>
                </c:pt>
                <c:pt idx="260">
                  <c:v>-0.14947747867256977</c:v>
                </c:pt>
                <c:pt idx="261">
                  <c:v>-0.14362374821072743</c:v>
                </c:pt>
                <c:pt idx="262">
                  <c:v>-0.12951704641218031</c:v>
                </c:pt>
                <c:pt idx="263">
                  <c:v>-0.11176387838894875</c:v>
                </c:pt>
                <c:pt idx="264">
                  <c:v>-0.11176387838894875</c:v>
                </c:pt>
                <c:pt idx="265">
                  <c:v>-0.11176387838894875</c:v>
                </c:pt>
                <c:pt idx="266">
                  <c:v>-0.11176387838894875</c:v>
                </c:pt>
                <c:pt idx="267">
                  <c:v>-0.11579429788904194</c:v>
                </c:pt>
                <c:pt idx="268">
                  <c:v>-0.12231979088403544</c:v>
                </c:pt>
                <c:pt idx="269">
                  <c:v>-0.10466253333024911</c:v>
                </c:pt>
                <c:pt idx="270">
                  <c:v>-0.11953698598079954</c:v>
                </c:pt>
                <c:pt idx="271">
                  <c:v>-0.11953698598079954</c:v>
                </c:pt>
                <c:pt idx="272">
                  <c:v>-0.11953698598079954</c:v>
                </c:pt>
                <c:pt idx="273">
                  <c:v>-0.11637007210334094</c:v>
                </c:pt>
                <c:pt idx="274">
                  <c:v>-0.10965268032005004</c:v>
                </c:pt>
                <c:pt idx="275">
                  <c:v>-0.1180014842767928</c:v>
                </c:pt>
                <c:pt idx="276">
                  <c:v>-0.13856400385105316</c:v>
                </c:pt>
                <c:pt idx="277">
                  <c:v>-0.16093768987956802</c:v>
                </c:pt>
                <c:pt idx="278">
                  <c:v>-0.16093768987956802</c:v>
                </c:pt>
                <c:pt idx="279">
                  <c:v>-0.16093768987956802</c:v>
                </c:pt>
                <c:pt idx="280">
                  <c:v>-0.19202840756001693</c:v>
                </c:pt>
                <c:pt idx="281">
                  <c:v>-0.1944497576664721</c:v>
                </c:pt>
                <c:pt idx="282">
                  <c:v>-0.18214908426131649</c:v>
                </c:pt>
                <c:pt idx="283">
                  <c:v>-0.2060725962847293</c:v>
                </c:pt>
                <c:pt idx="284">
                  <c:v>-0.20645997493404677</c:v>
                </c:pt>
                <c:pt idx="285">
                  <c:v>-0.20645997493404677</c:v>
                </c:pt>
                <c:pt idx="286">
                  <c:v>-0.20645997493404677</c:v>
                </c:pt>
                <c:pt idx="287">
                  <c:v>-0.20645997493404677</c:v>
                </c:pt>
                <c:pt idx="288">
                  <c:v>-0.18873529979378345</c:v>
                </c:pt>
                <c:pt idx="289">
                  <c:v>-0.19338438853144213</c:v>
                </c:pt>
                <c:pt idx="290">
                  <c:v>-0.18873529979378345</c:v>
                </c:pt>
                <c:pt idx="291">
                  <c:v>-0.1640371083211427</c:v>
                </c:pt>
                <c:pt idx="292">
                  <c:v>-0.1640371083211427</c:v>
                </c:pt>
                <c:pt idx="293">
                  <c:v>-0.1640371083211427</c:v>
                </c:pt>
                <c:pt idx="294">
                  <c:v>-0.16645845842759788</c:v>
                </c:pt>
                <c:pt idx="295">
                  <c:v>-0.17875905398334646</c:v>
                </c:pt>
                <c:pt idx="296">
                  <c:v>-0.180986870463957</c:v>
                </c:pt>
                <c:pt idx="297">
                  <c:v>-0.18747616348468754</c:v>
                </c:pt>
                <c:pt idx="298">
                  <c:v>-0.18176162776259186</c:v>
                </c:pt>
                <c:pt idx="299">
                  <c:v>-0.18176162776259186</c:v>
                </c:pt>
                <c:pt idx="300">
                  <c:v>-0.18176162776259186</c:v>
                </c:pt>
                <c:pt idx="301">
                  <c:v>-0.18176162776259186</c:v>
                </c:pt>
                <c:pt idx="302">
                  <c:v>-0.18592641533919663</c:v>
                </c:pt>
                <c:pt idx="303">
                  <c:v>-0.18476420154183715</c:v>
                </c:pt>
                <c:pt idx="304">
                  <c:v>-0.17178553765096882</c:v>
                </c:pt>
                <c:pt idx="305">
                  <c:v>-0.17236668347435202</c:v>
                </c:pt>
                <c:pt idx="306">
                  <c:v>-0.17236668347435202</c:v>
                </c:pt>
                <c:pt idx="307">
                  <c:v>-0.17236668347435202</c:v>
                </c:pt>
                <c:pt idx="308">
                  <c:v>-0.18408628890553147</c:v>
                </c:pt>
                <c:pt idx="309">
                  <c:v>-0.18912275629250752</c:v>
                </c:pt>
                <c:pt idx="310">
                  <c:v>-0.19241594190814804</c:v>
                </c:pt>
                <c:pt idx="311">
                  <c:v>-0.19793655475736394</c:v>
                </c:pt>
                <c:pt idx="312">
                  <c:v>-0.18427997823019016</c:v>
                </c:pt>
                <c:pt idx="313">
                  <c:v>-0.18427997823019016</c:v>
                </c:pt>
                <c:pt idx="314">
                  <c:v>-0.18427997823019016</c:v>
                </c:pt>
                <c:pt idx="315">
                  <c:v>-0.18650771686139356</c:v>
                </c:pt>
                <c:pt idx="316">
                  <c:v>-0.1658772347548073</c:v>
                </c:pt>
                <c:pt idx="317">
                  <c:v>-0.16326211747428643</c:v>
                </c:pt>
                <c:pt idx="318">
                  <c:v>-0.1547388529964181</c:v>
                </c:pt>
                <c:pt idx="319">
                  <c:v>-0.16190637005108233</c:v>
                </c:pt>
                <c:pt idx="320">
                  <c:v>-0.16190637005108233</c:v>
                </c:pt>
                <c:pt idx="321">
                  <c:v>-0.16190637005108233</c:v>
                </c:pt>
                <c:pt idx="322">
                  <c:v>-0.1592911749211543</c:v>
                </c:pt>
                <c:pt idx="323">
                  <c:v>-0.16946103220684283</c:v>
                </c:pt>
                <c:pt idx="324">
                  <c:v>-0.14912123978605862</c:v>
                </c:pt>
                <c:pt idx="325">
                  <c:v>-0.1409854318069147</c:v>
                </c:pt>
                <c:pt idx="326">
                  <c:v>-0.13004066152377702</c:v>
                </c:pt>
                <c:pt idx="327">
                  <c:v>-0.13004066152377702</c:v>
                </c:pt>
                <c:pt idx="328">
                  <c:v>-0.13004066152377702</c:v>
                </c:pt>
                <c:pt idx="329">
                  <c:v>-0.1328494681289566</c:v>
                </c:pt>
                <c:pt idx="330">
                  <c:v>-0.13962945083548928</c:v>
                </c:pt>
                <c:pt idx="331">
                  <c:v>-0.12858791373942935</c:v>
                </c:pt>
                <c:pt idx="332">
                  <c:v>-0.12723185491859712</c:v>
                </c:pt>
                <c:pt idx="333">
                  <c:v>-0.12994373901204037</c:v>
                </c:pt>
                <c:pt idx="334">
                  <c:v>-0.12994373901204037</c:v>
                </c:pt>
                <c:pt idx="335">
                  <c:v>-0.12994373901204037</c:v>
                </c:pt>
                <c:pt idx="336">
                  <c:v>-0.1295563603627229</c:v>
                </c:pt>
                <c:pt idx="337">
                  <c:v>-0.13372114793932766</c:v>
                </c:pt>
                <c:pt idx="338">
                  <c:v>-0.11560917199915388</c:v>
                </c:pt>
                <c:pt idx="339">
                  <c:v>-0.114834336851112</c:v>
                </c:pt>
                <c:pt idx="340">
                  <c:v>-0.10263043025887864</c:v>
                </c:pt>
                <c:pt idx="341">
                  <c:v>-0.10263043025887864</c:v>
                </c:pt>
                <c:pt idx="342">
                  <c:v>-0.10263043025887864</c:v>
                </c:pt>
                <c:pt idx="343">
                  <c:v>-0.10282411958353732</c:v>
                </c:pt>
                <c:pt idx="344">
                  <c:v>-0.10214628479663879</c:v>
                </c:pt>
                <c:pt idx="345">
                  <c:v>-0.10863549996796229</c:v>
                </c:pt>
                <c:pt idx="346">
                  <c:v>-0.10892603395495037</c:v>
                </c:pt>
                <c:pt idx="347">
                  <c:v>-0.12083932871078851</c:v>
                </c:pt>
                <c:pt idx="348">
                  <c:v>-0.12083932871078851</c:v>
                </c:pt>
                <c:pt idx="349">
                  <c:v>-0.12083932871078851</c:v>
                </c:pt>
                <c:pt idx="350">
                  <c:v>-0.13740179005369235</c:v>
                </c:pt>
                <c:pt idx="351">
                  <c:v>-0.13749863471602164</c:v>
                </c:pt>
                <c:pt idx="352">
                  <c:v>-0.13527097393422516</c:v>
                </c:pt>
                <c:pt idx="353">
                  <c:v>-0.12248599936801563</c:v>
                </c:pt>
                <c:pt idx="354">
                  <c:v>-0.1486368607755969</c:v>
                </c:pt>
                <c:pt idx="355">
                  <c:v>-0.1486368607755969</c:v>
                </c:pt>
                <c:pt idx="356">
                  <c:v>-0.1486368607755969</c:v>
                </c:pt>
                <c:pt idx="357">
                  <c:v>-0.15386709533663878</c:v>
                </c:pt>
                <c:pt idx="358">
                  <c:v>-0.16258420483797986</c:v>
                </c:pt>
                <c:pt idx="359">
                  <c:v>-0.16800820657308746</c:v>
                </c:pt>
                <c:pt idx="360">
                  <c:v>-0.17004202233141108</c:v>
                </c:pt>
                <c:pt idx="361">
                  <c:v>-0.1772095393860753</c:v>
                </c:pt>
                <c:pt idx="362">
                  <c:v>-0.1772095393860753</c:v>
                </c:pt>
                <c:pt idx="363">
                  <c:v>-0.1772095393860753</c:v>
                </c:pt>
                <c:pt idx="364">
                  <c:v>-0.1772095393860753</c:v>
                </c:pt>
                <c:pt idx="365">
                  <c:v>-0.18176162776259053</c:v>
                </c:pt>
                <c:pt idx="366">
                  <c:v>-0.16955787686917123</c:v>
                </c:pt>
                <c:pt idx="367">
                  <c:v>-0.16568362327955444</c:v>
                </c:pt>
                <c:pt idx="368">
                  <c:v>-0.15028360928223106</c:v>
                </c:pt>
                <c:pt idx="369">
                  <c:v>-0.15028360928223106</c:v>
                </c:pt>
                <c:pt idx="370">
                  <c:v>-0.15028360928223106</c:v>
                </c:pt>
                <c:pt idx="371">
                  <c:v>-0.13982306231074038</c:v>
                </c:pt>
                <c:pt idx="372">
                  <c:v>-0.17381958695751243</c:v>
                </c:pt>
                <c:pt idx="373">
                  <c:v>-0.17052640134187202</c:v>
                </c:pt>
                <c:pt idx="374">
                  <c:v>-0.17914651048206975</c:v>
                </c:pt>
                <c:pt idx="375">
                  <c:v>-0.18650771686139267</c:v>
                </c:pt>
                <c:pt idx="376">
                  <c:v>-0.18650771686139267</c:v>
                </c:pt>
                <c:pt idx="377">
                  <c:v>-0.18650771686139267</c:v>
                </c:pt>
                <c:pt idx="378">
                  <c:v>-0.18118055978861447</c:v>
                </c:pt>
                <c:pt idx="379">
                  <c:v>-0.19125349456256668</c:v>
                </c:pt>
                <c:pt idx="380">
                  <c:v>-0.20452284813923705</c:v>
                </c:pt>
                <c:pt idx="381">
                  <c:v>-0.2104309953365845</c:v>
                </c:pt>
                <c:pt idx="382">
                  <c:v>-0.22699345667948834</c:v>
                </c:pt>
                <c:pt idx="383">
                  <c:v>-0.22699345667948834</c:v>
                </c:pt>
                <c:pt idx="384">
                  <c:v>-0.22699345667948834</c:v>
                </c:pt>
                <c:pt idx="385">
                  <c:v>-0.23619471164306927</c:v>
                </c:pt>
                <c:pt idx="386">
                  <c:v>-0.23871290641185383</c:v>
                </c:pt>
                <c:pt idx="387">
                  <c:v>-0.22311920308987165</c:v>
                </c:pt>
                <c:pt idx="388">
                  <c:v>-0.23774438193915315</c:v>
                </c:pt>
                <c:pt idx="389">
                  <c:v>-0.2461708796040991</c:v>
                </c:pt>
                <c:pt idx="390">
                  <c:v>-0.2461708796040991</c:v>
                </c:pt>
                <c:pt idx="391">
                  <c:v>-0.2461708796040991</c:v>
                </c:pt>
                <c:pt idx="392">
                  <c:v>-0.22825251513917721</c:v>
                </c:pt>
                <c:pt idx="393">
                  <c:v>-0.20190765300930924</c:v>
                </c:pt>
                <c:pt idx="394">
                  <c:v>-0.20549137261193784</c:v>
                </c:pt>
                <c:pt idx="395">
                  <c:v>-0.21469262757551866</c:v>
                </c:pt>
                <c:pt idx="396">
                  <c:v>-0.2346450413469855</c:v>
                </c:pt>
                <c:pt idx="397">
                  <c:v>-0.2346450413469855</c:v>
                </c:pt>
                <c:pt idx="398">
                  <c:v>-0.2346450413469855</c:v>
                </c:pt>
                <c:pt idx="399">
                  <c:v>-0.24074687786899163</c:v>
                </c:pt>
                <c:pt idx="400">
                  <c:v>-0.24713932622739287</c:v>
                </c:pt>
                <c:pt idx="401">
                  <c:v>-0.2491733755339376</c:v>
                </c:pt>
                <c:pt idx="402">
                  <c:v>-0.23222361339112318</c:v>
                </c:pt>
                <c:pt idx="403">
                  <c:v>-0.2484954628976319</c:v>
                </c:pt>
                <c:pt idx="404">
                  <c:v>-0.2484954628976319</c:v>
                </c:pt>
                <c:pt idx="405">
                  <c:v>-0.2484954628976319</c:v>
                </c:pt>
                <c:pt idx="406">
                  <c:v>-0.22902742813662613</c:v>
                </c:pt>
                <c:pt idx="407">
                  <c:v>-0.22176322211844646</c:v>
                </c:pt>
                <c:pt idx="408">
                  <c:v>-0.22970526292352456</c:v>
                </c:pt>
                <c:pt idx="409">
                  <c:v>-0.23338582718848255</c:v>
                </c:pt>
                <c:pt idx="410">
                  <c:v>-0.21711405553138086</c:v>
                </c:pt>
                <c:pt idx="411">
                  <c:v>-0.21711405553138086</c:v>
                </c:pt>
                <c:pt idx="412">
                  <c:v>-0.21711405553138086</c:v>
                </c:pt>
                <c:pt idx="413">
                  <c:v>-0.21478955008725498</c:v>
                </c:pt>
                <c:pt idx="414">
                  <c:v>-0.20093912853660845</c:v>
                </c:pt>
                <c:pt idx="415">
                  <c:v>-0.20084228387427905</c:v>
                </c:pt>
                <c:pt idx="416">
                  <c:v>-0.20568513978600345</c:v>
                </c:pt>
                <c:pt idx="417">
                  <c:v>-0.1929970098821232</c:v>
                </c:pt>
                <c:pt idx="418">
                  <c:v>-0.1929970098821232</c:v>
                </c:pt>
                <c:pt idx="419">
                  <c:v>-0.1929970098821232</c:v>
                </c:pt>
                <c:pt idx="420">
                  <c:v>-0.19832401125608745</c:v>
                </c:pt>
                <c:pt idx="421">
                  <c:v>-0.19754917610804557</c:v>
                </c:pt>
                <c:pt idx="422">
                  <c:v>-0.21401463708980606</c:v>
                </c:pt>
                <c:pt idx="423">
                  <c:v>-0.22089146445866814</c:v>
                </c:pt>
                <c:pt idx="424">
                  <c:v>-0.20258572134442876</c:v>
                </c:pt>
                <c:pt idx="425">
                  <c:v>-0.20258572134442876</c:v>
                </c:pt>
                <c:pt idx="426">
                  <c:v>-0.20258572134442876</c:v>
                </c:pt>
                <c:pt idx="427">
                  <c:v>-0.19754917610804557</c:v>
                </c:pt>
                <c:pt idx="428">
                  <c:v>-0.1919315628976862</c:v>
                </c:pt>
                <c:pt idx="429">
                  <c:v>-0.20684735358336281</c:v>
                </c:pt>
                <c:pt idx="430">
                  <c:v>-0.16432764230812946</c:v>
                </c:pt>
                <c:pt idx="431">
                  <c:v>-0.15163959025365625</c:v>
                </c:pt>
                <c:pt idx="432">
                  <c:v>-0.15163959025365625</c:v>
                </c:pt>
                <c:pt idx="433">
                  <c:v>-0.15163959025365625</c:v>
                </c:pt>
                <c:pt idx="434">
                  <c:v>-0.1592911749211533</c:v>
                </c:pt>
                <c:pt idx="435">
                  <c:v>-0.1511552112431953</c:v>
                </c:pt>
                <c:pt idx="436">
                  <c:v>-0.15754765960159656</c:v>
                </c:pt>
                <c:pt idx="437">
                  <c:v>-0.15958163105873424</c:v>
                </c:pt>
                <c:pt idx="438">
                  <c:v>-0.15793511610032096</c:v>
                </c:pt>
                <c:pt idx="439">
                  <c:v>-0.15793511610032096</c:v>
                </c:pt>
                <c:pt idx="440">
                  <c:v>-0.15793511610032096</c:v>
                </c:pt>
                <c:pt idx="441">
                  <c:v>-0.16258420483797964</c:v>
                </c:pt>
                <c:pt idx="442">
                  <c:v>-0.15212373571589588</c:v>
                </c:pt>
                <c:pt idx="443">
                  <c:v>-0.14553759803283584</c:v>
                </c:pt>
                <c:pt idx="444">
                  <c:v>-0.14553759803283584</c:v>
                </c:pt>
                <c:pt idx="445">
                  <c:v>-0.14485960754712335</c:v>
                </c:pt>
                <c:pt idx="446">
                  <c:v>-0.14485960754712335</c:v>
                </c:pt>
                <c:pt idx="447">
                  <c:v>-0.14485960754712335</c:v>
                </c:pt>
                <c:pt idx="448">
                  <c:v>-0.15725712561460836</c:v>
                </c:pt>
                <c:pt idx="449">
                  <c:v>-0.15551384384327283</c:v>
                </c:pt>
                <c:pt idx="450">
                  <c:v>-0.13149348715753062</c:v>
                </c:pt>
                <c:pt idx="451">
                  <c:v>-0.13023435084843482</c:v>
                </c:pt>
                <c:pt idx="452">
                  <c:v>-0.1310091859964767</c:v>
                </c:pt>
                <c:pt idx="453">
                  <c:v>-0.1310091859964767</c:v>
                </c:pt>
                <c:pt idx="454">
                  <c:v>-0.1310091859964767</c:v>
                </c:pt>
                <c:pt idx="455">
                  <c:v>-0.14582813201982392</c:v>
                </c:pt>
                <c:pt idx="456">
                  <c:v>-0.15493262017048248</c:v>
                </c:pt>
                <c:pt idx="457">
                  <c:v>-0.1564823683159734</c:v>
                </c:pt>
                <c:pt idx="458">
                  <c:v>-0.14999299744583572</c:v>
                </c:pt>
                <c:pt idx="459">
                  <c:v>-0.1540609403601112</c:v>
                </c:pt>
                <c:pt idx="460">
                  <c:v>-0.1540609403601112</c:v>
                </c:pt>
                <c:pt idx="461">
                  <c:v>-0.1540609403601112</c:v>
                </c:pt>
                <c:pt idx="462">
                  <c:v>-0.14650620035494355</c:v>
                </c:pt>
                <c:pt idx="463">
                  <c:v>-0.13863928422763705</c:v>
                </c:pt>
                <c:pt idx="464">
                  <c:v>-0.1419578487499652</c:v>
                </c:pt>
                <c:pt idx="465">
                  <c:v>-0.16304040236310025</c:v>
                </c:pt>
                <c:pt idx="466">
                  <c:v>-0.17114156735612152</c:v>
                </c:pt>
                <c:pt idx="467">
                  <c:v>-0.17114156735612152</c:v>
                </c:pt>
                <c:pt idx="468">
                  <c:v>-0.17114156735612152</c:v>
                </c:pt>
                <c:pt idx="469">
                  <c:v>-0.17621703729601323</c:v>
                </c:pt>
                <c:pt idx="470">
                  <c:v>-0.17436250872205006</c:v>
                </c:pt>
                <c:pt idx="471">
                  <c:v>-0.16352851814509795</c:v>
                </c:pt>
                <c:pt idx="472">
                  <c:v>-0.17358175701907474</c:v>
                </c:pt>
                <c:pt idx="473">
                  <c:v>-0.16977515456415604</c:v>
                </c:pt>
                <c:pt idx="474">
                  <c:v>-0.16977515456415604</c:v>
                </c:pt>
                <c:pt idx="475">
                  <c:v>-0.16977515456415604</c:v>
                </c:pt>
                <c:pt idx="476">
                  <c:v>-0.16977515456415604</c:v>
                </c:pt>
                <c:pt idx="477">
                  <c:v>-0.1700679461839476</c:v>
                </c:pt>
                <c:pt idx="478">
                  <c:v>-0.18080446930331417</c:v>
                </c:pt>
                <c:pt idx="479">
                  <c:v>-0.16655405749941332</c:v>
                </c:pt>
                <c:pt idx="480">
                  <c:v>-0.1715320599817195</c:v>
                </c:pt>
                <c:pt idx="481">
                  <c:v>-0.1715320599817195</c:v>
                </c:pt>
                <c:pt idx="482">
                  <c:v>-0.1715320599817195</c:v>
                </c:pt>
                <c:pt idx="483">
                  <c:v>-0.1715320599817195</c:v>
                </c:pt>
                <c:pt idx="484">
                  <c:v>-0.1713368136689205</c:v>
                </c:pt>
                <c:pt idx="485">
                  <c:v>-0.1607954590129459</c:v>
                </c:pt>
                <c:pt idx="486">
                  <c:v>-0.16938473978796487</c:v>
                </c:pt>
                <c:pt idx="487">
                  <c:v>-0.15015663689938596</c:v>
                </c:pt>
                <c:pt idx="488">
                  <c:v>-0.15015663689938596</c:v>
                </c:pt>
                <c:pt idx="489">
                  <c:v>-0.15015663689938596</c:v>
                </c:pt>
                <c:pt idx="490">
                  <c:v>-0.1483021083254228</c:v>
                </c:pt>
                <c:pt idx="491">
                  <c:v>-0.14351950785472978</c:v>
                </c:pt>
                <c:pt idx="492">
                  <c:v>-0.13453981230351975</c:v>
                </c:pt>
                <c:pt idx="493">
                  <c:v>-0.12848834434785372</c:v>
                </c:pt>
                <c:pt idx="494">
                  <c:v>-0.12458411873653541</c:v>
                </c:pt>
                <c:pt idx="495">
                  <c:v>-0.12458411873653541</c:v>
                </c:pt>
                <c:pt idx="496">
                  <c:v>-0.12458411873653541</c:v>
                </c:pt>
                <c:pt idx="497">
                  <c:v>-0.12458411873653541</c:v>
                </c:pt>
                <c:pt idx="498">
                  <c:v>-0.12516977982552568</c:v>
                </c:pt>
                <c:pt idx="499">
                  <c:v>-0.13473505861631896</c:v>
                </c:pt>
                <c:pt idx="500">
                  <c:v>-0.13815116844563957</c:v>
                </c:pt>
                <c:pt idx="501">
                  <c:v>-0.12477944289874165</c:v>
                </c:pt>
                <c:pt idx="502">
                  <c:v>-0.12477944289874165</c:v>
                </c:pt>
                <c:pt idx="503">
                  <c:v>-0.12477944289874165</c:v>
                </c:pt>
                <c:pt idx="504">
                  <c:v>-0.11706861483250441</c:v>
                </c:pt>
                <c:pt idx="505">
                  <c:v>-0.11823985916107782</c:v>
                </c:pt>
                <c:pt idx="506">
                  <c:v>-0.11619008427431565</c:v>
                </c:pt>
                <c:pt idx="507">
                  <c:v>-0.10867465821969169</c:v>
                </c:pt>
                <c:pt idx="508">
                  <c:v>-0.10818654243769399</c:v>
                </c:pt>
                <c:pt idx="509">
                  <c:v>-0.10818654243769399</c:v>
                </c:pt>
                <c:pt idx="510">
                  <c:v>-0.10818654243769399</c:v>
                </c:pt>
                <c:pt idx="511">
                  <c:v>-0.11892306555706056</c:v>
                </c:pt>
                <c:pt idx="512">
                  <c:v>-0.10935786461567443</c:v>
                </c:pt>
                <c:pt idx="513">
                  <c:v>-0.1002805459080649</c:v>
                </c:pt>
                <c:pt idx="514">
                  <c:v>-0.092960288316833</c:v>
                </c:pt>
                <c:pt idx="515">
                  <c:v>-0.10340394196700109</c:v>
                </c:pt>
                <c:pt idx="516">
                  <c:v>-0.10340394196700109</c:v>
                </c:pt>
                <c:pt idx="517">
                  <c:v>-0.10340394196700109</c:v>
                </c:pt>
                <c:pt idx="518">
                  <c:v>-0.11082190056403962</c:v>
                </c:pt>
                <c:pt idx="519">
                  <c:v>-0.10135432277905287</c:v>
                </c:pt>
                <c:pt idx="520">
                  <c:v>-0.10906507299588297</c:v>
                </c:pt>
                <c:pt idx="521">
                  <c:v>-0.11296922075779425</c:v>
                </c:pt>
                <c:pt idx="522">
                  <c:v>-0.11375005031017649</c:v>
                </c:pt>
                <c:pt idx="523">
                  <c:v>-0.11375005031017649</c:v>
                </c:pt>
                <c:pt idx="524">
                  <c:v>-0.11375005031017649</c:v>
                </c:pt>
                <c:pt idx="525">
                  <c:v>-0.1043799399827754</c:v>
                </c:pt>
                <c:pt idx="526">
                  <c:v>-0.10389205774899868</c:v>
                </c:pt>
                <c:pt idx="527">
                  <c:v>-0.10330639666000863</c:v>
                </c:pt>
                <c:pt idx="528">
                  <c:v>-0.1123835596688042</c:v>
                </c:pt>
                <c:pt idx="529">
                  <c:v>-0.11462850301895855</c:v>
                </c:pt>
                <c:pt idx="530">
                  <c:v>-0.11462850301895855</c:v>
                </c:pt>
                <c:pt idx="531">
                  <c:v>-0.11462850301895855</c:v>
                </c:pt>
                <c:pt idx="532">
                  <c:v>-0.11462850301895855</c:v>
                </c:pt>
                <c:pt idx="533">
                  <c:v>-0.12975713398342015</c:v>
                </c:pt>
                <c:pt idx="534">
                  <c:v>-0.1320997783393809</c:v>
                </c:pt>
                <c:pt idx="535">
                  <c:v>-0.127902683258864</c:v>
                </c:pt>
                <c:pt idx="536">
                  <c:v>-0.1395176590870124</c:v>
                </c:pt>
                <c:pt idx="537">
                  <c:v>-0.1395176590870124</c:v>
                </c:pt>
                <c:pt idx="538">
                  <c:v>-0.1395176590870124</c:v>
                </c:pt>
                <c:pt idx="539">
                  <c:v>-0.1344421891471207</c:v>
                </c:pt>
                <c:pt idx="540">
                  <c:v>-0.13893199799802214</c:v>
                </c:pt>
                <c:pt idx="541">
                  <c:v>-0.13707746942405896</c:v>
                </c:pt>
                <c:pt idx="542">
                  <c:v>-0.13239249210976545</c:v>
                </c:pt>
                <c:pt idx="543">
                  <c:v>-0.11931348033325195</c:v>
                </c:pt>
                <c:pt idx="544">
                  <c:v>-0.11931348033325195</c:v>
                </c:pt>
                <c:pt idx="545">
                  <c:v>-0.11931348033325195</c:v>
                </c:pt>
                <c:pt idx="546">
                  <c:v>-0.11989914142224223</c:v>
                </c:pt>
                <c:pt idx="547">
                  <c:v>-0.13375898275113784</c:v>
                </c:pt>
                <c:pt idx="548">
                  <c:v>-0.1319045320265817</c:v>
                </c:pt>
                <c:pt idx="549">
                  <c:v>-0.1458619965118768</c:v>
                </c:pt>
                <c:pt idx="550">
                  <c:v>-0.15708647971442702</c:v>
                </c:pt>
                <c:pt idx="551">
                  <c:v>-0.15708647971442702</c:v>
                </c:pt>
                <c:pt idx="552">
                  <c:v>-0.15708647971442702</c:v>
                </c:pt>
                <c:pt idx="553">
                  <c:v>-0.1592338777575888</c:v>
                </c:pt>
                <c:pt idx="554">
                  <c:v>-0.14761882408003335</c:v>
                </c:pt>
                <c:pt idx="555">
                  <c:v>-0.15942904622098086</c:v>
                </c:pt>
                <c:pt idx="556">
                  <c:v>-0.1457643733554772</c:v>
                </c:pt>
                <c:pt idx="557">
                  <c:v>-0.15503678267707177</c:v>
                </c:pt>
                <c:pt idx="558">
                  <c:v>-0.15503678267707177</c:v>
                </c:pt>
                <c:pt idx="559">
                  <c:v>-0.15503678267707177</c:v>
                </c:pt>
                <c:pt idx="560">
                  <c:v>-0.146837994527651</c:v>
                </c:pt>
                <c:pt idx="561">
                  <c:v>-0.1355158881687012</c:v>
                </c:pt>
                <c:pt idx="562">
                  <c:v>-0.14478829749029576</c:v>
                </c:pt>
                <c:pt idx="563">
                  <c:v>-0.14254343198954855</c:v>
                </c:pt>
                <c:pt idx="564">
                  <c:v>-0.14049373495219342</c:v>
                </c:pt>
                <c:pt idx="565">
                  <c:v>-0.14049373495219342</c:v>
                </c:pt>
                <c:pt idx="566">
                  <c:v>-0.14049373495219342</c:v>
                </c:pt>
                <c:pt idx="567">
                  <c:v>-0.13746803989906387</c:v>
                </c:pt>
                <c:pt idx="568">
                  <c:v>-0.13668721034668163</c:v>
                </c:pt>
                <c:pt idx="569">
                  <c:v>-0.12614585569070713</c:v>
                </c:pt>
                <c:pt idx="570">
                  <c:v>-0.11902061086405313</c:v>
                </c:pt>
                <c:pt idx="571">
                  <c:v>-0.1102361616256422</c:v>
                </c:pt>
                <c:pt idx="572">
                  <c:v>-0.1102361616256422</c:v>
                </c:pt>
                <c:pt idx="573">
                  <c:v>-0.1102361616256422</c:v>
                </c:pt>
                <c:pt idx="574">
                  <c:v>-0.10506314637875791</c:v>
                </c:pt>
                <c:pt idx="575">
                  <c:v>-0.10818654243769399</c:v>
                </c:pt>
                <c:pt idx="576">
                  <c:v>-0.11277397444499504</c:v>
                </c:pt>
                <c:pt idx="577">
                  <c:v>-0.10926024145927493</c:v>
                </c:pt>
                <c:pt idx="578">
                  <c:v>-0.10926024145927493</c:v>
                </c:pt>
                <c:pt idx="579">
                  <c:v>-0.10926024145927493</c:v>
                </c:pt>
                <c:pt idx="580">
                  <c:v>-0.10926024145927493</c:v>
                </c:pt>
                <c:pt idx="581">
                  <c:v>-0.10867465821969169</c:v>
                </c:pt>
                <c:pt idx="582">
                  <c:v>-0.10691767495272098</c:v>
                </c:pt>
                <c:pt idx="583">
                  <c:v>-0.10838171090108595</c:v>
                </c:pt>
                <c:pt idx="584">
                  <c:v>-0.09647409915195992</c:v>
                </c:pt>
                <c:pt idx="585">
                  <c:v>-0.09910930157949127</c:v>
                </c:pt>
                <c:pt idx="586">
                  <c:v>-0.09910930157949127</c:v>
                </c:pt>
                <c:pt idx="587">
                  <c:v>-0.09910930157949127</c:v>
                </c:pt>
                <c:pt idx="588">
                  <c:v>-0.09745001931832709</c:v>
                </c:pt>
                <c:pt idx="589">
                  <c:v>-0.09579073705716301</c:v>
                </c:pt>
                <c:pt idx="590">
                  <c:v>-0.09764526563112608</c:v>
                </c:pt>
                <c:pt idx="591">
                  <c:v>-0.10096383015345423</c:v>
                </c:pt>
                <c:pt idx="592">
                  <c:v>-0.1003782469138711</c:v>
                </c:pt>
                <c:pt idx="593">
                  <c:v>-0.1003782469138711</c:v>
                </c:pt>
                <c:pt idx="594">
                  <c:v>-0.1003782469138711</c:v>
                </c:pt>
                <c:pt idx="595">
                  <c:v>-0.09998783213767992</c:v>
                </c:pt>
                <c:pt idx="596">
                  <c:v>-0.11443325670615878</c:v>
                </c:pt>
                <c:pt idx="597">
                  <c:v>-0.11667820005631302</c:v>
                </c:pt>
                <c:pt idx="598">
                  <c:v>-0.10154949124244439</c:v>
                </c:pt>
                <c:pt idx="599">
                  <c:v>-0.09627893068856752</c:v>
                </c:pt>
                <c:pt idx="600">
                  <c:v>-0.09627893068856752</c:v>
                </c:pt>
                <c:pt idx="601">
                  <c:v>-0.09627893068856752</c:v>
                </c:pt>
                <c:pt idx="602">
                  <c:v>-0.09745001931832686</c:v>
                </c:pt>
                <c:pt idx="603">
                  <c:v>-0.1076009591981103</c:v>
                </c:pt>
                <c:pt idx="604">
                  <c:v>-0.11082190056403884</c:v>
                </c:pt>
                <c:pt idx="605">
                  <c:v>-0.11404299762878145</c:v>
                </c:pt>
                <c:pt idx="606">
                  <c:v>-0.0990118341219054</c:v>
                </c:pt>
                <c:pt idx="607">
                  <c:v>-0.0990118341219054</c:v>
                </c:pt>
                <c:pt idx="608">
                  <c:v>-0.0990118341219054</c:v>
                </c:pt>
                <c:pt idx="609">
                  <c:v>-0.09862141934571422</c:v>
                </c:pt>
                <c:pt idx="610">
                  <c:v>-0.10242794395122601</c:v>
                </c:pt>
                <c:pt idx="611">
                  <c:v>-0.10018300060107177</c:v>
                </c:pt>
                <c:pt idx="612">
                  <c:v>-0.10242794395122601</c:v>
                </c:pt>
                <c:pt idx="613">
                  <c:v>-0.10496560107176489</c:v>
                </c:pt>
                <c:pt idx="614">
                  <c:v>-0.10496560107176489</c:v>
                </c:pt>
                <c:pt idx="615">
                  <c:v>-0.10496560107176489</c:v>
                </c:pt>
                <c:pt idx="616">
                  <c:v>-0.09881650995969926</c:v>
                </c:pt>
                <c:pt idx="617">
                  <c:v>-0.10603930009334572</c:v>
                </c:pt>
                <c:pt idx="618">
                  <c:v>-0.09764526563112585</c:v>
                </c:pt>
                <c:pt idx="619">
                  <c:v>-0.09315545678022441</c:v>
                </c:pt>
                <c:pt idx="620">
                  <c:v>-0.09256987354064128</c:v>
                </c:pt>
                <c:pt idx="621">
                  <c:v>-0.09256987354064128</c:v>
                </c:pt>
                <c:pt idx="622">
                  <c:v>-0.09256987354064128</c:v>
                </c:pt>
                <c:pt idx="623">
                  <c:v>-0.09120338289926888</c:v>
                </c:pt>
                <c:pt idx="624">
                  <c:v>-0.10262303456521127</c:v>
                </c:pt>
                <c:pt idx="625">
                  <c:v>-0.11091952372043856</c:v>
                </c:pt>
                <c:pt idx="626">
                  <c:v>-0.10730816757831885</c:v>
                </c:pt>
                <c:pt idx="627">
                  <c:v>-0.09559549074436391</c:v>
                </c:pt>
                <c:pt idx="628">
                  <c:v>-0.09559549074436391</c:v>
                </c:pt>
                <c:pt idx="629">
                  <c:v>-0.09559549074436391</c:v>
                </c:pt>
                <c:pt idx="630">
                  <c:v>-0.09559549074436391</c:v>
                </c:pt>
                <c:pt idx="631">
                  <c:v>-0.09930462574169718</c:v>
                </c:pt>
                <c:pt idx="632">
                  <c:v>-0.10574650847355438</c:v>
                </c:pt>
                <c:pt idx="633">
                  <c:v>-0.0951076085105873</c:v>
                </c:pt>
                <c:pt idx="634">
                  <c:v>-0.08163810410847583</c:v>
                </c:pt>
                <c:pt idx="635">
                  <c:v>-0.08163810410847583</c:v>
                </c:pt>
                <c:pt idx="636">
                  <c:v>-0.08163810410847583</c:v>
                </c:pt>
                <c:pt idx="637">
                  <c:v>-0.08407829377142917</c:v>
                </c:pt>
                <c:pt idx="638">
                  <c:v>-0.07968603022752019</c:v>
                </c:pt>
                <c:pt idx="639">
                  <c:v>-0.08458649470043722</c:v>
                </c:pt>
                <c:pt idx="640">
                  <c:v>-0.07798027187036682</c:v>
                </c:pt>
                <c:pt idx="641">
                  <c:v>-0.07669848138382895</c:v>
                </c:pt>
                <c:pt idx="642">
                  <c:v>-0.07669848138382895</c:v>
                </c:pt>
                <c:pt idx="643">
                  <c:v>-0.07669848138382895</c:v>
                </c:pt>
                <c:pt idx="644">
                  <c:v>-0.06999354550566073</c:v>
                </c:pt>
                <c:pt idx="645">
                  <c:v>-0.06279558933285267</c:v>
                </c:pt>
                <c:pt idx="646">
                  <c:v>-0.0605278361064423</c:v>
                </c:pt>
                <c:pt idx="647">
                  <c:v>-0.049878893569970106</c:v>
                </c:pt>
                <c:pt idx="648">
                  <c:v>-0.052639822789834145</c:v>
                </c:pt>
                <c:pt idx="649">
                  <c:v>-0.052639822789834145</c:v>
                </c:pt>
                <c:pt idx="650">
                  <c:v>-0.052639822789834145</c:v>
                </c:pt>
                <c:pt idx="651">
                  <c:v>-0.052639822789834145</c:v>
                </c:pt>
                <c:pt idx="652">
                  <c:v>-0.06131676199715441</c:v>
                </c:pt>
                <c:pt idx="653">
                  <c:v>-0.06457047796343718</c:v>
                </c:pt>
                <c:pt idx="654">
                  <c:v>-0.06437320756605569</c:v>
                </c:pt>
                <c:pt idx="655">
                  <c:v>-0.07403618736265549</c:v>
                </c:pt>
                <c:pt idx="656">
                  <c:v>-0.07403618736265549</c:v>
                </c:pt>
                <c:pt idx="657">
                  <c:v>-0.07403618736265549</c:v>
                </c:pt>
                <c:pt idx="658">
                  <c:v>-0.07561380559585862</c:v>
                </c:pt>
                <c:pt idx="659">
                  <c:v>-0.06585234629938219</c:v>
                </c:pt>
                <c:pt idx="660">
                  <c:v>-0.06595090364866585</c:v>
                </c:pt>
                <c:pt idx="661">
                  <c:v>-0.06437320756605591</c:v>
                </c:pt>
                <c:pt idx="662">
                  <c:v>-0.054020170625656005</c:v>
                </c:pt>
                <c:pt idx="663">
                  <c:v>-0.054020170625656005</c:v>
                </c:pt>
                <c:pt idx="664">
                  <c:v>-0.054020170625656005</c:v>
                </c:pt>
                <c:pt idx="665">
                  <c:v>-0.05175233954983871</c:v>
                </c:pt>
                <c:pt idx="666">
                  <c:v>-0.05175233954983871</c:v>
                </c:pt>
                <c:pt idx="667">
                  <c:v>-0.05638655905075707</c:v>
                </c:pt>
                <c:pt idx="668">
                  <c:v>-0.06802162002591583</c:v>
                </c:pt>
                <c:pt idx="669">
                  <c:v>-0.06614817404604745</c:v>
                </c:pt>
                <c:pt idx="670">
                  <c:v>-0.06614817404604745</c:v>
                </c:pt>
                <c:pt idx="671">
                  <c:v>-0.06614817404604745</c:v>
                </c:pt>
                <c:pt idx="672">
                  <c:v>-0.06378178562094639</c:v>
                </c:pt>
                <c:pt idx="673">
                  <c:v>-0.056386559050756846</c:v>
                </c:pt>
                <c:pt idx="674">
                  <c:v>-0.04504740367167037</c:v>
                </c:pt>
                <c:pt idx="675">
                  <c:v>-0.03420134643663053</c:v>
                </c:pt>
                <c:pt idx="676">
                  <c:v>-0.03686356260839685</c:v>
                </c:pt>
                <c:pt idx="677">
                  <c:v>-0.03686356260839685</c:v>
                </c:pt>
                <c:pt idx="678">
                  <c:v>-0.03686356260839685</c:v>
                </c:pt>
                <c:pt idx="679">
                  <c:v>-0.03439853898460499</c:v>
                </c:pt>
                <c:pt idx="680">
                  <c:v>-0.02897547144238155</c:v>
                </c:pt>
                <c:pt idx="681">
                  <c:v>-0.02779231615453459</c:v>
                </c:pt>
                <c:pt idx="682">
                  <c:v>-0.034299825936507156</c:v>
                </c:pt>
                <c:pt idx="683">
                  <c:v>-0.03380696134068151</c:v>
                </c:pt>
                <c:pt idx="684">
                  <c:v>-0.03380696134068151</c:v>
                </c:pt>
                <c:pt idx="685">
                  <c:v>-0.03380696134068151</c:v>
                </c:pt>
                <c:pt idx="686">
                  <c:v>-0.030355974977017253</c:v>
                </c:pt>
                <c:pt idx="687">
                  <c:v>-0.02720066066120408</c:v>
                </c:pt>
                <c:pt idx="688">
                  <c:v>-0.0259187923252594</c:v>
                </c:pt>
                <c:pt idx="689">
                  <c:v>-0.032032150559504036</c:v>
                </c:pt>
                <c:pt idx="690">
                  <c:v>-0.021876228317671553</c:v>
                </c:pt>
                <c:pt idx="691">
                  <c:v>-0.021876228317671553</c:v>
                </c:pt>
                <c:pt idx="692">
                  <c:v>-0.021876228317671553</c:v>
                </c:pt>
                <c:pt idx="693">
                  <c:v>-0.020002782337803282</c:v>
                </c:pt>
                <c:pt idx="694">
                  <c:v>-0.026806275565255278</c:v>
                </c:pt>
                <c:pt idx="695">
                  <c:v>-0.042878129945136956</c:v>
                </c:pt>
                <c:pt idx="696">
                  <c:v>-0.045146116719768314</c:v>
                </c:pt>
                <c:pt idx="697">
                  <c:v>-0.04711812004892035</c:v>
                </c:pt>
                <c:pt idx="698">
                  <c:v>-0.04711812004892035</c:v>
                </c:pt>
                <c:pt idx="699">
                  <c:v>-0.04711812004892035</c:v>
                </c:pt>
                <c:pt idx="700">
                  <c:v>-0.04070893406801046</c:v>
                </c:pt>
                <c:pt idx="701">
                  <c:v>-0.04623071465833162</c:v>
                </c:pt>
                <c:pt idx="702">
                  <c:v>-0.050273356515326495</c:v>
                </c:pt>
                <c:pt idx="703">
                  <c:v>-0.04879437348081417</c:v>
                </c:pt>
                <c:pt idx="704">
                  <c:v>-0.0523439171937623</c:v>
                </c:pt>
                <c:pt idx="705">
                  <c:v>-0.0523439171937623</c:v>
                </c:pt>
                <c:pt idx="706">
                  <c:v>-0.0523439171937623</c:v>
                </c:pt>
                <c:pt idx="707">
                  <c:v>-0.05047047121389403</c:v>
                </c:pt>
                <c:pt idx="708">
                  <c:v>-0.06210553218905279</c:v>
                </c:pt>
                <c:pt idx="709">
                  <c:v>-0.0693034105124537</c:v>
                </c:pt>
                <c:pt idx="710">
                  <c:v>-0.07541661304788438</c:v>
                </c:pt>
                <c:pt idx="711">
                  <c:v>-0.07581099814383341</c:v>
                </c:pt>
                <c:pt idx="712">
                  <c:v>-0.07581099814383341</c:v>
                </c:pt>
                <c:pt idx="713">
                  <c:v>-0.07581099814383341</c:v>
                </c:pt>
                <c:pt idx="714">
                  <c:v>-0.07097950824553345</c:v>
                </c:pt>
                <c:pt idx="715">
                  <c:v>-0.07305014677337629</c:v>
                </c:pt>
                <c:pt idx="716">
                  <c:v>-0.06210553218905279</c:v>
                </c:pt>
                <c:pt idx="717">
                  <c:v>-0.07403618736265583</c:v>
                </c:pt>
                <c:pt idx="718">
                  <c:v>-0.06841592727245782</c:v>
                </c:pt>
                <c:pt idx="719">
                  <c:v>-0.06841592727245782</c:v>
                </c:pt>
                <c:pt idx="720">
                  <c:v>-0.06841592727245782</c:v>
                </c:pt>
                <c:pt idx="721">
                  <c:v>-0.061218048949057025</c:v>
                </c:pt>
                <c:pt idx="722">
                  <c:v>-0.047906968090225543</c:v>
                </c:pt>
                <c:pt idx="723">
                  <c:v>-0.04554042396631053</c:v>
                </c:pt>
                <c:pt idx="724">
                  <c:v>-0.0484984678847421</c:v>
                </c:pt>
                <c:pt idx="725">
                  <c:v>-0.045836329562382705</c:v>
                </c:pt>
                <c:pt idx="726">
                  <c:v>-0.045836329562382705</c:v>
                </c:pt>
                <c:pt idx="727">
                  <c:v>-0.045836329562382705</c:v>
                </c:pt>
                <c:pt idx="728">
                  <c:v>-0.045836329562382705</c:v>
                </c:pt>
                <c:pt idx="729">
                  <c:v>-0.0513579544538898</c:v>
                </c:pt>
                <c:pt idx="730">
                  <c:v>-0.05687957934539689</c:v>
                </c:pt>
                <c:pt idx="731">
                  <c:v>-0.06042927875715909</c:v>
                </c:pt>
                <c:pt idx="732">
                  <c:v>-0.060034815811803144</c:v>
                </c:pt>
                <c:pt idx="733">
                  <c:v>-0.060034815811803144</c:v>
                </c:pt>
                <c:pt idx="734">
                  <c:v>-0.060034815811803144</c:v>
                </c:pt>
                <c:pt idx="735">
                  <c:v>-0.0519495320978135</c:v>
                </c:pt>
                <c:pt idx="736">
                  <c:v>-0.05648519424944809</c:v>
                </c:pt>
                <c:pt idx="737">
                  <c:v>-0.05618936650278272</c:v>
                </c:pt>
                <c:pt idx="738">
                  <c:v>-0.04751250514486949</c:v>
                </c:pt>
                <c:pt idx="739">
                  <c:v>-0.05520340376291022</c:v>
                </c:pt>
                <c:pt idx="740">
                  <c:v>-0.05520340376291022</c:v>
                </c:pt>
                <c:pt idx="741">
                  <c:v>-0.05520340376291022</c:v>
                </c:pt>
                <c:pt idx="742">
                  <c:v>-0.05618936650278272</c:v>
                </c:pt>
                <c:pt idx="743">
                  <c:v>-0.05826000503062556</c:v>
                </c:pt>
                <c:pt idx="744">
                  <c:v>-0.06437320756605613</c:v>
                </c:pt>
                <c:pt idx="745">
                  <c:v>-0.07985364000082829</c:v>
                </c:pt>
                <c:pt idx="746">
                  <c:v>-0.0804452954941588</c:v>
                </c:pt>
                <c:pt idx="747">
                  <c:v>-0.0804452954941588</c:v>
                </c:pt>
                <c:pt idx="748">
                  <c:v>-0.0804452954941588</c:v>
                </c:pt>
                <c:pt idx="749">
                  <c:v>-0.07926221805571876</c:v>
                </c:pt>
                <c:pt idx="750">
                  <c:v>-0.09267193411324104</c:v>
                </c:pt>
                <c:pt idx="751">
                  <c:v>-0.0922774711678851</c:v>
                </c:pt>
                <c:pt idx="752">
                  <c:v>-0.08665721107768709</c:v>
                </c:pt>
                <c:pt idx="753">
                  <c:v>-0.08922079205076272</c:v>
                </c:pt>
                <c:pt idx="754">
                  <c:v>-0.08922079205076272</c:v>
                </c:pt>
                <c:pt idx="755">
                  <c:v>-0.08922079205076272</c:v>
                </c:pt>
                <c:pt idx="756">
                  <c:v>-0.0932634339077576</c:v>
                </c:pt>
                <c:pt idx="757">
                  <c:v>-0.10539143732814926</c:v>
                </c:pt>
                <c:pt idx="758">
                  <c:v>-0.10154591016972192</c:v>
                </c:pt>
                <c:pt idx="759">
                  <c:v>-0.09927807909390474</c:v>
                </c:pt>
                <c:pt idx="760">
                  <c:v>-0.08813611626279272</c:v>
                </c:pt>
                <c:pt idx="761">
                  <c:v>-0.08813611626279272</c:v>
                </c:pt>
                <c:pt idx="762">
                  <c:v>-0.08813611626279272</c:v>
                </c:pt>
                <c:pt idx="763">
                  <c:v>-0.08488240029650984</c:v>
                </c:pt>
                <c:pt idx="764">
                  <c:v>-0.07719157952787614</c:v>
                </c:pt>
                <c:pt idx="765">
                  <c:v>-0.07295151157468582</c:v>
                </c:pt>
                <c:pt idx="766">
                  <c:v>-0.0800509103982101</c:v>
                </c:pt>
                <c:pt idx="767">
                  <c:v>-0.08527678539245898</c:v>
                </c:pt>
                <c:pt idx="768">
                  <c:v>-0.08527678539245898</c:v>
                </c:pt>
                <c:pt idx="769">
                  <c:v>-0.08527678539245898</c:v>
                </c:pt>
                <c:pt idx="770">
                  <c:v>-0.07689567393180397</c:v>
                </c:pt>
                <c:pt idx="771">
                  <c:v>-0.0765012109864478</c:v>
                </c:pt>
                <c:pt idx="772">
                  <c:v>-0.08971381234540265</c:v>
                </c:pt>
                <c:pt idx="773">
                  <c:v>-0.09789765340867607</c:v>
                </c:pt>
                <c:pt idx="774">
                  <c:v>-0.10864515329443203</c:v>
                </c:pt>
                <c:pt idx="775">
                  <c:v>-0.10864515329443203</c:v>
                </c:pt>
                <c:pt idx="776">
                  <c:v>-0.10864515329443203</c:v>
                </c:pt>
                <c:pt idx="777">
                  <c:v>-0.10933552183586026</c:v>
                </c:pt>
                <c:pt idx="778">
                  <c:v>-0.1028277785056666</c:v>
                </c:pt>
                <c:pt idx="779">
                  <c:v>-0.11426541338462992</c:v>
                </c:pt>
                <c:pt idx="780">
                  <c:v>-0.12333673768789921</c:v>
                </c:pt>
                <c:pt idx="781">
                  <c:v>-0.12649212985311942</c:v>
                </c:pt>
                <c:pt idx="782">
                  <c:v>-0.12649212985311942</c:v>
                </c:pt>
                <c:pt idx="783">
                  <c:v>-0.12649212985311942</c:v>
                </c:pt>
                <c:pt idx="784">
                  <c:v>-0.11633612976187979</c:v>
                </c:pt>
                <c:pt idx="785">
                  <c:v>-0.11239212310357571</c:v>
                </c:pt>
                <c:pt idx="786">
                  <c:v>-0.10351791349887407</c:v>
                </c:pt>
                <c:pt idx="787">
                  <c:v>-0.08576980568709869</c:v>
                </c:pt>
                <c:pt idx="788">
                  <c:v>-0.07521942049991015</c:v>
                </c:pt>
                <c:pt idx="789">
                  <c:v>-0.07521942049991015</c:v>
                </c:pt>
                <c:pt idx="790">
                  <c:v>-0.07521942049991015</c:v>
                </c:pt>
                <c:pt idx="791">
                  <c:v>-0.0744306503080121</c:v>
                </c:pt>
                <c:pt idx="792">
                  <c:v>-0.0749235927532449</c:v>
                </c:pt>
                <c:pt idx="793">
                  <c:v>-0.07512070745181232</c:v>
                </c:pt>
                <c:pt idx="794">
                  <c:v>-0.08064256589154051</c:v>
                </c:pt>
                <c:pt idx="795">
                  <c:v>-0.07009225855375889</c:v>
                </c:pt>
                <c:pt idx="796">
                  <c:v>-0.07009225855375889</c:v>
                </c:pt>
                <c:pt idx="797">
                  <c:v>-0.07009225855375889</c:v>
                </c:pt>
                <c:pt idx="798">
                  <c:v>-0.06989498815637751</c:v>
                </c:pt>
                <c:pt idx="799">
                  <c:v>-0.04958314367271244</c:v>
                </c:pt>
                <c:pt idx="800">
                  <c:v>-0.04761114034356051</c:v>
                </c:pt>
                <c:pt idx="801">
                  <c:v>-0.04830135318617479</c:v>
                </c:pt>
                <c:pt idx="802">
                  <c:v>-0.044061518781205455</c:v>
                </c:pt>
                <c:pt idx="803">
                  <c:v>-0.044061518781205455</c:v>
                </c:pt>
                <c:pt idx="804">
                  <c:v>-0.044061518781205455</c:v>
                </c:pt>
                <c:pt idx="805">
                  <c:v>-0.03735658290303734</c:v>
                </c:pt>
                <c:pt idx="806">
                  <c:v>-0.03992016387611286</c:v>
                </c:pt>
                <c:pt idx="807">
                  <c:v>-0.03725794770434654</c:v>
                </c:pt>
                <c:pt idx="808">
                  <c:v>-0.03725794770434654</c:v>
                </c:pt>
                <c:pt idx="809">
                  <c:v>-0.034891559279245365</c:v>
                </c:pt>
                <c:pt idx="810">
                  <c:v>-0.034891559279245365</c:v>
                </c:pt>
                <c:pt idx="811">
                  <c:v>-0.034891559279245365</c:v>
                </c:pt>
                <c:pt idx="812">
                  <c:v>-0.037455140252320995</c:v>
                </c:pt>
                <c:pt idx="813">
                  <c:v>-0.03587759986852501</c:v>
                </c:pt>
                <c:pt idx="814">
                  <c:v>-0.03597615721780878</c:v>
                </c:pt>
                <c:pt idx="815">
                  <c:v>-0.03351113359401703</c:v>
                </c:pt>
                <c:pt idx="816">
                  <c:v>-0.02631325527061601</c:v>
                </c:pt>
                <c:pt idx="817">
                  <c:v>-0.02631325527061601</c:v>
                </c:pt>
                <c:pt idx="818">
                  <c:v>-0.02631325527061601</c:v>
                </c:pt>
                <c:pt idx="819">
                  <c:v>-0.032327900456762926</c:v>
                </c:pt>
                <c:pt idx="820">
                  <c:v>-0.0342013464366312</c:v>
                </c:pt>
                <c:pt idx="821">
                  <c:v>-0.03607479241649947</c:v>
                </c:pt>
                <c:pt idx="822">
                  <c:v>-0.029862876832971064</c:v>
                </c:pt>
                <c:pt idx="823">
                  <c:v>-0.026707640366564922</c:v>
                </c:pt>
                <c:pt idx="824">
                  <c:v>-0.026707640366564922</c:v>
                </c:pt>
                <c:pt idx="825">
                  <c:v>-0.026707640366564922</c:v>
                </c:pt>
                <c:pt idx="826">
                  <c:v>-0.023256576153493524</c:v>
                </c:pt>
                <c:pt idx="827">
                  <c:v>-0.020101339687087494</c:v>
                </c:pt>
                <c:pt idx="828">
                  <c:v>-0.0065929884308744136</c:v>
                </c:pt>
                <c:pt idx="829">
                  <c:v>-0.0001838802993715527</c:v>
                </c:pt>
                <c:pt idx="830">
                  <c:v>-0.004423792553747918</c:v>
                </c:pt>
                <c:pt idx="831">
                  <c:v>-0.004423792553747918</c:v>
                </c:pt>
                <c:pt idx="832">
                  <c:v>-0.004423792553747918</c:v>
                </c:pt>
                <c:pt idx="833">
                  <c:v>1.331224860301461e-05</c:v>
                </c:pt>
                <c:pt idx="834">
                  <c:v>0.007211190572004034</c:v>
                </c:pt>
                <c:pt idx="835">
                  <c:v>-0.0068038824744838244</c:v>
                </c:pt>
                <c:pt idx="836">
                  <c:v>0.005638476851443253</c:v>
                </c:pt>
                <c:pt idx="837">
                  <c:v>0.0071315506286255825</c:v>
                </c:pt>
                <c:pt idx="838">
                  <c:v>0.0071315506286255825</c:v>
                </c:pt>
                <c:pt idx="839">
                  <c:v>0.0071315506286255825</c:v>
                </c:pt>
                <c:pt idx="840">
                  <c:v>0.0071315506286255825</c:v>
                </c:pt>
                <c:pt idx="841">
                  <c:v>0.012008971677065494</c:v>
                </c:pt>
                <c:pt idx="842">
                  <c:v>0.014895549839855304</c:v>
                </c:pt>
                <c:pt idx="843">
                  <c:v>0.014895549839855304</c:v>
                </c:pt>
                <c:pt idx="844">
                  <c:v>0.013004276345780053</c:v>
                </c:pt>
                <c:pt idx="845">
                  <c:v>0.013004276345780053</c:v>
                </c:pt>
                <c:pt idx="846">
                  <c:v>0.013004276345780053</c:v>
                </c:pt>
                <c:pt idx="847">
                  <c:v>0.013004276345780053</c:v>
                </c:pt>
                <c:pt idx="848">
                  <c:v>0.004344464008003701</c:v>
                </c:pt>
                <c:pt idx="849">
                  <c:v>-0.003618673986376053</c:v>
                </c:pt>
                <c:pt idx="850">
                  <c:v>-0.004713625896072604</c:v>
                </c:pt>
                <c:pt idx="851">
                  <c:v>-0.0038176570707120216</c:v>
                </c:pt>
                <c:pt idx="852">
                  <c:v>-0.0038176570707120216</c:v>
                </c:pt>
                <c:pt idx="853">
                  <c:v>-0.0038176570707120216</c:v>
                </c:pt>
                <c:pt idx="854">
                  <c:v>0.008126933146747062</c:v>
                </c:pt>
                <c:pt idx="855">
                  <c:v>0.0035481424236247783</c:v>
                </c:pt>
                <c:pt idx="856">
                  <c:v>0.008226424688914769</c:v>
                </c:pt>
                <c:pt idx="857">
                  <c:v>0.007728811279261061</c:v>
                </c:pt>
                <c:pt idx="858">
                  <c:v>0.00981906785767217</c:v>
                </c:pt>
                <c:pt idx="859">
                  <c:v>0.00981906785767217</c:v>
                </c:pt>
                <c:pt idx="860">
                  <c:v>0.00981906785767217</c:v>
                </c:pt>
                <c:pt idx="861">
                  <c:v>0.00981906785767217</c:v>
                </c:pt>
                <c:pt idx="862">
                  <c:v>0.0009601167367458974</c:v>
                </c:pt>
                <c:pt idx="863">
                  <c:v>-0.006704313082908975</c:v>
                </c:pt>
                <c:pt idx="864">
                  <c:v>0.0019555771042745196</c:v>
                </c:pt>
                <c:pt idx="865">
                  <c:v>0.012008971677065494</c:v>
                </c:pt>
                <c:pt idx="866">
                  <c:v>0.012008971677065494</c:v>
                </c:pt>
                <c:pt idx="867">
                  <c:v>0.012008971677065494</c:v>
                </c:pt>
                <c:pt idx="868">
                  <c:v>0.013601536996415753</c:v>
                </c:pt>
                <c:pt idx="869">
                  <c:v>0.015691871424234005</c:v>
                </c:pt>
                <c:pt idx="870">
                  <c:v>0.019076140846084666</c:v>
                </c:pt>
                <c:pt idx="871">
                  <c:v>0.02315731815955302</c:v>
                </c:pt>
                <c:pt idx="872">
                  <c:v>0.02405305343669273</c:v>
                </c:pt>
                <c:pt idx="873">
                  <c:v>0.02405305343669273</c:v>
                </c:pt>
                <c:pt idx="874">
                  <c:v>0.02405305343669273</c:v>
                </c:pt>
                <c:pt idx="875">
                  <c:v>0.03082167012980097</c:v>
                </c:pt>
                <c:pt idx="876">
                  <c:v>0.02912961326828256</c:v>
                </c:pt>
                <c:pt idx="877">
                  <c:v>0.015791440815809077</c:v>
                </c:pt>
                <c:pt idx="878">
                  <c:v>0.02843278322607201</c:v>
                </c:pt>
                <c:pt idx="879">
                  <c:v>0.03261337423230115</c:v>
                </c:pt>
                <c:pt idx="880">
                  <c:v>0.03261337423230115</c:v>
                </c:pt>
                <c:pt idx="881">
                  <c:v>0.03261337423230115</c:v>
                </c:pt>
                <c:pt idx="882">
                  <c:v>0.02863184415981479</c:v>
                </c:pt>
                <c:pt idx="883">
                  <c:v>0.03460413926854433</c:v>
                </c:pt>
                <c:pt idx="884">
                  <c:v>0.039879760033877165</c:v>
                </c:pt>
                <c:pt idx="885">
                  <c:v>0.039680621250727244</c:v>
                </c:pt>
                <c:pt idx="886">
                  <c:v>0.04525487234137793</c:v>
                </c:pt>
                <c:pt idx="887">
                  <c:v>0.04525487234137793</c:v>
                </c:pt>
                <c:pt idx="888">
                  <c:v>0.04525487234137793</c:v>
                </c:pt>
                <c:pt idx="889">
                  <c:v>0.046548807335410336</c:v>
                </c:pt>
                <c:pt idx="890">
                  <c:v>0.02992593485266104</c:v>
                </c:pt>
                <c:pt idx="891">
                  <c:v>0.04127326441948442</c:v>
                </c:pt>
                <c:pt idx="892">
                  <c:v>0.04963460213075699</c:v>
                </c:pt>
                <c:pt idx="893">
                  <c:v>0.04704657644387811</c:v>
                </c:pt>
                <c:pt idx="894">
                  <c:v>0.04704657644387811</c:v>
                </c:pt>
                <c:pt idx="895">
                  <c:v>0.04704657644387811</c:v>
                </c:pt>
                <c:pt idx="896">
                  <c:v>0.04704657644387811</c:v>
                </c:pt>
                <c:pt idx="897">
                  <c:v>0.044060351040106305</c:v>
                </c:pt>
                <c:pt idx="898">
                  <c:v>0.044358903516017234</c:v>
                </c:pt>
                <c:pt idx="899">
                  <c:v>0.062375591782001916</c:v>
                </c:pt>
                <c:pt idx="900">
                  <c:v>0.06277363580008055</c:v>
                </c:pt>
                <c:pt idx="901">
                  <c:v>0.06277363580008055</c:v>
                </c:pt>
                <c:pt idx="902">
                  <c:v>0.06277363580008055</c:v>
                </c:pt>
                <c:pt idx="903">
                  <c:v>0.05988705763729074</c:v>
                </c:pt>
                <c:pt idx="904">
                  <c:v>0.061977392065108994</c:v>
                </c:pt>
                <c:pt idx="905">
                  <c:v>0.05749809288415486</c:v>
                </c:pt>
                <c:pt idx="906">
                  <c:v>0.06157911449880937</c:v>
                </c:pt>
                <c:pt idx="907">
                  <c:v>0.07183164785475005</c:v>
                </c:pt>
                <c:pt idx="908">
                  <c:v>0.07183164785475005</c:v>
                </c:pt>
                <c:pt idx="909">
                  <c:v>0.07183164785475005</c:v>
                </c:pt>
                <c:pt idx="910">
                  <c:v>0.07023900468599265</c:v>
                </c:pt>
                <c:pt idx="911">
                  <c:v>0.06157911449880915</c:v>
                </c:pt>
                <c:pt idx="912">
                  <c:v>0.06984088281850664</c:v>
                </c:pt>
                <c:pt idx="913">
                  <c:v>0.08098915145158703</c:v>
                </c:pt>
                <c:pt idx="914">
                  <c:v>0.07571368638506826</c:v>
                </c:pt>
                <c:pt idx="915">
                  <c:v>0.07571368638506826</c:v>
                </c:pt>
                <c:pt idx="916">
                  <c:v>0.07571368638506826</c:v>
                </c:pt>
                <c:pt idx="917">
                  <c:v>0.07352378256567516</c:v>
                </c:pt>
                <c:pt idx="918">
                  <c:v>0.08437349872284461</c:v>
                </c:pt>
                <c:pt idx="919">
                  <c:v>0.08297999433723713</c:v>
                </c:pt>
                <c:pt idx="920">
                  <c:v>0.078699756090026</c:v>
                </c:pt>
                <c:pt idx="921">
                  <c:v>0.07322523008976423</c:v>
                </c:pt>
                <c:pt idx="922">
                  <c:v>0.07322523008976423</c:v>
                </c:pt>
                <c:pt idx="923">
                  <c:v>0.07322523008976423</c:v>
                </c:pt>
                <c:pt idx="924">
                  <c:v>0.07760488202973637</c:v>
                </c:pt>
                <c:pt idx="925">
                  <c:v>0.08138727331907303</c:v>
                </c:pt>
                <c:pt idx="926">
                  <c:v>0.09233655886781755</c:v>
                </c:pt>
                <c:pt idx="927">
                  <c:v>0.09472552362095366</c:v>
                </c:pt>
                <c:pt idx="928">
                  <c:v>0.09213749793407477</c:v>
                </c:pt>
                <c:pt idx="929">
                  <c:v>0.09213749793407477</c:v>
                </c:pt>
                <c:pt idx="930">
                  <c:v>0.09213749793407477</c:v>
                </c:pt>
                <c:pt idx="931">
                  <c:v>0.08994759411468167</c:v>
                </c:pt>
                <c:pt idx="932">
                  <c:v>0.08845459818690626</c:v>
                </c:pt>
                <c:pt idx="933">
                  <c:v>0.0964177361812859</c:v>
                </c:pt>
                <c:pt idx="934">
                  <c:v>0.09621851954872884</c:v>
                </c:pt>
                <c:pt idx="935">
                  <c:v>0.09621851954872884</c:v>
                </c:pt>
                <c:pt idx="936">
                  <c:v>0.09621851954872884</c:v>
                </c:pt>
                <c:pt idx="937">
                  <c:v>0.09621851954872884</c:v>
                </c:pt>
                <c:pt idx="938">
                  <c:v>0.09363057171125688</c:v>
                </c:pt>
                <c:pt idx="939">
                  <c:v>0.08716058534346649</c:v>
                </c:pt>
                <c:pt idx="940">
                  <c:v>0.08974861103034537</c:v>
                </c:pt>
                <c:pt idx="941">
                  <c:v>0.0787992476321937</c:v>
                </c:pt>
                <c:pt idx="942">
                  <c:v>0.08726015473504134</c:v>
                </c:pt>
                <c:pt idx="943">
                  <c:v>0.08726015473504134</c:v>
                </c:pt>
                <c:pt idx="944">
                  <c:v>0.08726015473504134</c:v>
                </c:pt>
                <c:pt idx="945">
                  <c:v>0.08954947224719545</c:v>
                </c:pt>
                <c:pt idx="946">
                  <c:v>0.09114211541595285</c:v>
                </c:pt>
                <c:pt idx="947">
                  <c:v>0.078699756090026</c:v>
                </c:pt>
                <c:pt idx="948">
                  <c:v>0.08507025091564846</c:v>
                </c:pt>
                <c:pt idx="949">
                  <c:v>0.06834780904132431</c:v>
                </c:pt>
                <c:pt idx="950">
                  <c:v>0.06834780904132431</c:v>
                </c:pt>
                <c:pt idx="951">
                  <c:v>0.06834780904132431</c:v>
                </c:pt>
                <c:pt idx="952">
                  <c:v>0.05799578414321549</c:v>
                </c:pt>
                <c:pt idx="953">
                  <c:v>0.05242161090197173</c:v>
                </c:pt>
                <c:pt idx="954">
                  <c:v>0.048539572371653295</c:v>
                </c:pt>
                <c:pt idx="955">
                  <c:v>0.047046576443877886</c:v>
                </c:pt>
                <c:pt idx="956">
                  <c:v>0.04057651222668057</c:v>
                </c:pt>
                <c:pt idx="957">
                  <c:v>0.04057651222668057</c:v>
                </c:pt>
                <c:pt idx="958">
                  <c:v>0.04057651222668057</c:v>
                </c:pt>
                <c:pt idx="959">
                  <c:v>0.05112767590793932</c:v>
                </c:pt>
                <c:pt idx="960">
                  <c:v>0.06287312734224848</c:v>
                </c:pt>
                <c:pt idx="961">
                  <c:v>0.0622759445410197</c:v>
                </c:pt>
                <c:pt idx="962">
                  <c:v>0.05899116666133697</c:v>
                </c:pt>
                <c:pt idx="963">
                  <c:v>0.06884550030038494</c:v>
                </c:pt>
                <c:pt idx="964">
                  <c:v>0.06884550030038494</c:v>
                </c:pt>
                <c:pt idx="965">
                  <c:v>0.06884550030038494</c:v>
                </c:pt>
                <c:pt idx="966">
                  <c:v>0.07352378256567493</c:v>
                </c:pt>
                <c:pt idx="967">
                  <c:v>0.05729903195041164</c:v>
                </c:pt>
                <c:pt idx="968">
                  <c:v>0.05451194532978976</c:v>
                </c:pt>
                <c:pt idx="969">
                  <c:v>0.06765105684852046</c:v>
                </c:pt>
                <c:pt idx="970">
                  <c:v>0.0792970167406617</c:v>
                </c:pt>
                <c:pt idx="971">
                  <c:v>0.0792970167406617</c:v>
                </c:pt>
                <c:pt idx="972">
                  <c:v>0.0792970167406617</c:v>
                </c:pt>
                <c:pt idx="973">
                  <c:v>0.08905193668694888</c:v>
                </c:pt>
                <c:pt idx="974">
                  <c:v>0.08935048916285959</c:v>
                </c:pt>
                <c:pt idx="975">
                  <c:v>0.08875322851222389</c:v>
                </c:pt>
                <c:pt idx="976">
                  <c:v>0.09532278427158913</c:v>
                </c:pt>
                <c:pt idx="977">
                  <c:v>0.09671628865719661</c:v>
                </c:pt>
                <c:pt idx="978">
                  <c:v>0.09671628865719661</c:v>
                </c:pt>
                <c:pt idx="979">
                  <c:v>0.09671628865719661</c:v>
                </c:pt>
                <c:pt idx="980">
                  <c:v>0.09741304085000047</c:v>
                </c:pt>
                <c:pt idx="981">
                  <c:v>0.10348490535030508</c:v>
                </c:pt>
                <c:pt idx="982">
                  <c:v>0.11612624776056779</c:v>
                </c:pt>
                <c:pt idx="983">
                  <c:v>0.11383693024841368</c:v>
                </c:pt>
                <c:pt idx="984">
                  <c:v>0.11642495593529256</c:v>
                </c:pt>
                <c:pt idx="985">
                  <c:v>0.11642495593529256</c:v>
                </c:pt>
                <c:pt idx="986">
                  <c:v>0.11642495593529256</c:v>
                </c:pt>
                <c:pt idx="987">
                  <c:v>0.11712178597750333</c:v>
                </c:pt>
                <c:pt idx="988">
                  <c:v>0.11732076906183919</c:v>
                </c:pt>
                <c:pt idx="989">
                  <c:v>0.11204522614591328</c:v>
                </c:pt>
                <c:pt idx="990">
                  <c:v>0.10467942665157626</c:v>
                </c:pt>
                <c:pt idx="991">
                  <c:v>0.11184616521217028</c:v>
                </c:pt>
                <c:pt idx="992">
                  <c:v>0.11184616521217028</c:v>
                </c:pt>
                <c:pt idx="993">
                  <c:v>0.11184616521217028</c:v>
                </c:pt>
                <c:pt idx="994">
                  <c:v>0.11184616521217028</c:v>
                </c:pt>
                <c:pt idx="995">
                  <c:v>0.11214487338689505</c:v>
                </c:pt>
                <c:pt idx="996">
                  <c:v>0.10089695751283267</c:v>
                </c:pt>
                <c:pt idx="997">
                  <c:v>0.09810979304280387</c:v>
                </c:pt>
                <c:pt idx="998">
                  <c:v>0.10567473132029082</c:v>
                </c:pt>
                <c:pt idx="999">
                  <c:v>0.10567473132029082</c:v>
                </c:pt>
                <c:pt idx="1000">
                  <c:v>0.10567473132029082</c:v>
                </c:pt>
                <c:pt idx="1001">
                  <c:v>0.10786463513968392</c:v>
                </c:pt>
                <c:pt idx="1002">
                  <c:v>0.10637156136250159</c:v>
                </c:pt>
                <c:pt idx="1003">
                  <c:v>0.11911247316433937</c:v>
                </c:pt>
                <c:pt idx="1004">
                  <c:v>0.120207347224629</c:v>
                </c:pt>
                <c:pt idx="1005">
                  <c:v>0.11463325183279216</c:v>
                </c:pt>
                <c:pt idx="1006">
                  <c:v>0.11463325183279216</c:v>
                </c:pt>
                <c:pt idx="1007">
                  <c:v>0.11463325183279216</c:v>
                </c:pt>
                <c:pt idx="1008">
                  <c:v>0.11791795186306775</c:v>
                </c:pt>
                <c:pt idx="1009">
                  <c:v>0.11565961841490657</c:v>
                </c:pt>
                <c:pt idx="1010">
                  <c:v>0.12639964475758902</c:v>
                </c:pt>
                <c:pt idx="1011">
                  <c:v>0.12288653456712506</c:v>
                </c:pt>
                <c:pt idx="1012">
                  <c:v>0.12077868402272807</c:v>
                </c:pt>
                <c:pt idx="1013">
                  <c:v>0.12077868402272807</c:v>
                </c:pt>
                <c:pt idx="1014">
                  <c:v>0.12077868402272807</c:v>
                </c:pt>
                <c:pt idx="1015">
                  <c:v>0.12790525228930116</c:v>
                </c:pt>
                <c:pt idx="1016">
                  <c:v>0.1325225006194899</c:v>
                </c:pt>
                <c:pt idx="1017">
                  <c:v>0.1325225006194899</c:v>
                </c:pt>
                <c:pt idx="1018">
                  <c:v>0.1302137986049885</c:v>
                </c:pt>
                <c:pt idx="1019">
                  <c:v>0.12569697600985208</c:v>
                </c:pt>
                <c:pt idx="1020">
                  <c:v>0.12569697600985208</c:v>
                </c:pt>
                <c:pt idx="1021">
                  <c:v>0.12569697600985208</c:v>
                </c:pt>
                <c:pt idx="1022">
                  <c:v>0.12670076626393167</c:v>
                </c:pt>
                <c:pt idx="1023">
                  <c:v>0.13011345071934355</c:v>
                </c:pt>
                <c:pt idx="1024">
                  <c:v>0.12880861680832867</c:v>
                </c:pt>
                <c:pt idx="1025">
                  <c:v>0.13041465007509312</c:v>
                </c:pt>
                <c:pt idx="1026">
                  <c:v>0.1282063737956438</c:v>
                </c:pt>
                <c:pt idx="1027">
                  <c:v>0.1282063737956438</c:v>
                </c:pt>
                <c:pt idx="1028">
                  <c:v>0.1282063737956438</c:v>
                </c:pt>
                <c:pt idx="1029">
                  <c:v>0.13011345071934355</c:v>
                </c:pt>
                <c:pt idx="1030">
                  <c:v>0.13613588084619233</c:v>
                </c:pt>
                <c:pt idx="1031">
                  <c:v>0.1443666651018971</c:v>
                </c:pt>
                <c:pt idx="1032">
                  <c:v>0.1443666651018971</c:v>
                </c:pt>
                <c:pt idx="1033">
                  <c:v>0.15089099035578535</c:v>
                </c:pt>
                <c:pt idx="1034">
                  <c:v>0.15089099035578535</c:v>
                </c:pt>
                <c:pt idx="1035">
                  <c:v>0.15089099035578535</c:v>
                </c:pt>
                <c:pt idx="1036">
                  <c:v>0.15089099035578535</c:v>
                </c:pt>
                <c:pt idx="1037">
                  <c:v>0.150589791000036</c:v>
                </c:pt>
                <c:pt idx="1038">
                  <c:v>0.16233360759679782</c:v>
                </c:pt>
                <c:pt idx="1039">
                  <c:v>0.1578167850016614</c:v>
                </c:pt>
                <c:pt idx="1040">
                  <c:v>0.1662482650286563</c:v>
                </c:pt>
                <c:pt idx="1041">
                  <c:v>0.1662482650286563</c:v>
                </c:pt>
                <c:pt idx="1042">
                  <c:v>0.1662482650286563</c:v>
                </c:pt>
                <c:pt idx="1043">
                  <c:v>0.16504370115387945</c:v>
                </c:pt>
                <c:pt idx="1044">
                  <c:v>0.1712669049014255</c:v>
                </c:pt>
                <c:pt idx="1045">
                  <c:v>0.15651187324123939</c:v>
                </c:pt>
                <c:pt idx="1046">
                  <c:v>0.14667521141758422</c:v>
                </c:pt>
                <c:pt idx="1047">
                  <c:v>0.13914709590961638</c:v>
                </c:pt>
                <c:pt idx="1048">
                  <c:v>0.13914709590961638</c:v>
                </c:pt>
                <c:pt idx="1049">
                  <c:v>0.13914709590961638</c:v>
                </c:pt>
                <c:pt idx="1050">
                  <c:v>0.15089099035578535</c:v>
                </c:pt>
                <c:pt idx="1051">
                  <c:v>0.14697625507451972</c:v>
                </c:pt>
                <c:pt idx="1052">
                  <c:v>0.12439214209883742</c:v>
                </c:pt>
                <c:pt idx="1053">
                  <c:v>0.11867075562892415</c:v>
                </c:pt>
                <c:pt idx="1054">
                  <c:v>0.13192017975739811</c:v>
                </c:pt>
                <c:pt idx="1055">
                  <c:v>0.13192017975739811</c:v>
                </c:pt>
                <c:pt idx="1056">
                  <c:v>0.13192017975739811</c:v>
                </c:pt>
                <c:pt idx="1057">
                  <c:v>0.13091646735272566</c:v>
                </c:pt>
                <c:pt idx="1058">
                  <c:v>0.12710223565591927</c:v>
                </c:pt>
                <c:pt idx="1059">
                  <c:v>0.14557107327785967</c:v>
                </c:pt>
                <c:pt idx="1060">
                  <c:v>0.1251950808828124</c:v>
                </c:pt>
                <c:pt idx="1061">
                  <c:v>0.10542133150045019</c:v>
                </c:pt>
                <c:pt idx="1062">
                  <c:v>0.10542133150045019</c:v>
                </c:pt>
                <c:pt idx="1063">
                  <c:v>0.10542133150045019</c:v>
                </c:pt>
                <c:pt idx="1064">
                  <c:v>0.07641316330711767</c:v>
                </c:pt>
                <c:pt idx="1065">
                  <c:v>0.08374058304379517</c:v>
                </c:pt>
                <c:pt idx="1066">
                  <c:v>0.08173308038504334</c:v>
                </c:pt>
                <c:pt idx="1067">
                  <c:v>0.10451804483083005</c:v>
                </c:pt>
                <c:pt idx="1068">
                  <c:v>0.10943633681795406</c:v>
                </c:pt>
                <c:pt idx="1069">
                  <c:v>0.10943633681795406</c:v>
                </c:pt>
                <c:pt idx="1070">
                  <c:v>0.10943633681795406</c:v>
                </c:pt>
                <c:pt idx="1071">
                  <c:v>0.11023935345133618</c:v>
                </c:pt>
                <c:pt idx="1072">
                  <c:v>0.1273029314272096</c:v>
                </c:pt>
                <c:pt idx="1073">
                  <c:v>0.13031422434004103</c:v>
                </c:pt>
                <c:pt idx="1074">
                  <c:v>0.1482812446843489</c:v>
                </c:pt>
                <c:pt idx="1075">
                  <c:v>0.15229617215244562</c:v>
                </c:pt>
                <c:pt idx="1076">
                  <c:v>0.15229617215244562</c:v>
                </c:pt>
                <c:pt idx="1077">
                  <c:v>0.15229617215244562</c:v>
                </c:pt>
                <c:pt idx="1078">
                  <c:v>0.16383921512850996</c:v>
                </c:pt>
                <c:pt idx="1079">
                  <c:v>0.16092834795073085</c:v>
                </c:pt>
                <c:pt idx="1080">
                  <c:v>0.1669507780775794</c:v>
                </c:pt>
                <c:pt idx="1081">
                  <c:v>0.15771635926660932</c:v>
                </c:pt>
                <c:pt idx="1082">
                  <c:v>0.17337475544582293</c:v>
                </c:pt>
                <c:pt idx="1083">
                  <c:v>0.17337475544582293</c:v>
                </c:pt>
                <c:pt idx="1084">
                  <c:v>0.17337475544582293</c:v>
                </c:pt>
                <c:pt idx="1085">
                  <c:v>0.16905862862197685</c:v>
                </c:pt>
                <c:pt idx="1086">
                  <c:v>0.17136717493766418</c:v>
                </c:pt>
                <c:pt idx="1087">
                  <c:v>0.16494327541882803</c:v>
                </c:pt>
                <c:pt idx="1088">
                  <c:v>0.16594714352231454</c:v>
                </c:pt>
                <c:pt idx="1089">
                  <c:v>0.17417777207920526</c:v>
                </c:pt>
                <c:pt idx="1090">
                  <c:v>0.17417777207920526</c:v>
                </c:pt>
                <c:pt idx="1091">
                  <c:v>0.17417777207920526</c:v>
                </c:pt>
                <c:pt idx="1092">
                  <c:v>0.17417777207920526</c:v>
                </c:pt>
                <c:pt idx="1093">
                  <c:v>0.15169385129035406</c:v>
                </c:pt>
                <c:pt idx="1094">
                  <c:v>0.14818081894929702</c:v>
                </c:pt>
                <c:pt idx="1095">
                  <c:v>0.14677563715263697</c:v>
                </c:pt>
                <c:pt idx="1096">
                  <c:v>0.12730293142721005</c:v>
                </c:pt>
                <c:pt idx="1097">
                  <c:v>0.12730293142721005</c:v>
                </c:pt>
                <c:pt idx="1098">
                  <c:v>0.12730293142721005</c:v>
                </c:pt>
                <c:pt idx="1099">
                  <c:v>0.1389464001383267</c:v>
                </c:pt>
                <c:pt idx="1100">
                  <c:v>0.14055235555568402</c:v>
                </c:pt>
                <c:pt idx="1101">
                  <c:v>0.15058979100003644</c:v>
                </c:pt>
                <c:pt idx="1102">
                  <c:v>0.16062714859498195</c:v>
                </c:pt>
                <c:pt idx="1103">
                  <c:v>0.1664489607999473</c:v>
                </c:pt>
                <c:pt idx="1104">
                  <c:v>0.1664489607999473</c:v>
                </c:pt>
                <c:pt idx="1105">
                  <c:v>0.1664489607999473</c:v>
                </c:pt>
                <c:pt idx="1106">
                  <c:v>0.17046396611745118</c:v>
                </c:pt>
                <c:pt idx="1107">
                  <c:v>0.16925940224267433</c:v>
                </c:pt>
                <c:pt idx="1108">
                  <c:v>0.16594714352231454</c:v>
                </c:pt>
                <c:pt idx="1109">
                  <c:v>0.1867245274599425</c:v>
                </c:pt>
                <c:pt idx="1110">
                  <c:v>0.18200700909351575</c:v>
                </c:pt>
                <c:pt idx="1111">
                  <c:v>0.18200700909351575</c:v>
                </c:pt>
                <c:pt idx="1112">
                  <c:v>0.18200700909351575</c:v>
                </c:pt>
                <c:pt idx="1113">
                  <c:v>0.18652383168865216</c:v>
                </c:pt>
                <c:pt idx="1114">
                  <c:v>0.1946541123598977</c:v>
                </c:pt>
                <c:pt idx="1115">
                  <c:v>0.18963531678831447</c:v>
                </c:pt>
                <c:pt idx="1116">
                  <c:v>0.20288474091678865</c:v>
                </c:pt>
                <c:pt idx="1117">
                  <c:v>0.2000742216246545</c:v>
                </c:pt>
                <c:pt idx="1118">
                  <c:v>0.2000742216246545</c:v>
                </c:pt>
                <c:pt idx="1119">
                  <c:v>0.2000742216246545</c:v>
                </c:pt>
                <c:pt idx="1120">
                  <c:v>0.19997395158841647</c:v>
                </c:pt>
                <c:pt idx="1121">
                  <c:v>0.19234548819480368</c:v>
                </c:pt>
                <c:pt idx="1122">
                  <c:v>0.19515600748693762</c:v>
                </c:pt>
                <c:pt idx="1123">
                  <c:v>0.18923392524573424</c:v>
                </c:pt>
                <c:pt idx="1124">
                  <c:v>0.19927136069008666</c:v>
                </c:pt>
                <c:pt idx="1125">
                  <c:v>0.19927136069008666</c:v>
                </c:pt>
                <c:pt idx="1126">
                  <c:v>0.19927136069008666</c:v>
                </c:pt>
                <c:pt idx="1127">
                  <c:v>0.19174324518211883</c:v>
                </c:pt>
                <c:pt idx="1128">
                  <c:v>0.1948548859805952</c:v>
                </c:pt>
                <c:pt idx="1129">
                  <c:v>0.1997731779677192</c:v>
                </c:pt>
                <c:pt idx="1130">
                  <c:v>0.1985686919423495</c:v>
                </c:pt>
                <c:pt idx="1131">
                  <c:v>0.20609680745031733</c:v>
                </c:pt>
                <c:pt idx="1132">
                  <c:v>0.20609680745031733</c:v>
                </c:pt>
                <c:pt idx="1133">
                  <c:v>0.20609680745031733</c:v>
                </c:pt>
                <c:pt idx="1134">
                  <c:v>0.21231993334845622</c:v>
                </c:pt>
                <c:pt idx="1135">
                  <c:v>0.19967283008207404</c:v>
                </c:pt>
                <c:pt idx="1136">
                  <c:v>0.2044907741835531</c:v>
                </c:pt>
                <c:pt idx="1137">
                  <c:v>0.20398887905651342</c:v>
                </c:pt>
                <c:pt idx="1138">
                  <c:v>0.21101509943744134</c:v>
                </c:pt>
                <c:pt idx="1139">
                  <c:v>0.21101509943744134</c:v>
                </c:pt>
                <c:pt idx="1140">
                  <c:v>0.21101509943744134</c:v>
                </c:pt>
                <c:pt idx="1141">
                  <c:v>0.20519336508188313</c:v>
                </c:pt>
                <c:pt idx="1142">
                  <c:v>0.20258361941044645</c:v>
                </c:pt>
                <c:pt idx="1143">
                  <c:v>0.1919440188028163</c:v>
                </c:pt>
                <c:pt idx="1144">
                  <c:v>0.19475446024554333</c:v>
                </c:pt>
                <c:pt idx="1145">
                  <c:v>0.19264660970114633</c:v>
                </c:pt>
                <c:pt idx="1146">
                  <c:v>0.19264660970114633</c:v>
                </c:pt>
                <c:pt idx="1147">
                  <c:v>0.19264660970114633</c:v>
                </c:pt>
                <c:pt idx="1148">
                  <c:v>0.19886981344869237</c:v>
                </c:pt>
                <c:pt idx="1149">
                  <c:v>0.19816722255036234</c:v>
                </c:pt>
                <c:pt idx="1150">
                  <c:v>0.1928473833218436</c:v>
                </c:pt>
                <c:pt idx="1151">
                  <c:v>0.17488044082694287</c:v>
                </c:pt>
                <c:pt idx="1152">
                  <c:v>0.1793972634220795</c:v>
                </c:pt>
                <c:pt idx="1153">
                  <c:v>0.1793972634220795</c:v>
                </c:pt>
                <c:pt idx="1154">
                  <c:v>0.1793972634220795</c:v>
                </c:pt>
                <c:pt idx="1155">
                  <c:v>0.17919648980138225</c:v>
                </c:pt>
                <c:pt idx="1156">
                  <c:v>0.19294773120748898</c:v>
                </c:pt>
                <c:pt idx="1157">
                  <c:v>0.20720078989122848</c:v>
                </c:pt>
                <c:pt idx="1158">
                  <c:v>0.2207514133754518</c:v>
                </c:pt>
                <c:pt idx="1159">
                  <c:v>0.21753942469133025</c:v>
                </c:pt>
                <c:pt idx="1160">
                  <c:v>0.21753942469133025</c:v>
                </c:pt>
                <c:pt idx="1161">
                  <c:v>0.21753942469133025</c:v>
                </c:pt>
                <c:pt idx="1162">
                  <c:v>0.2190450322230424</c:v>
                </c:pt>
                <c:pt idx="1163">
                  <c:v>0.21001138703276956</c:v>
                </c:pt>
                <c:pt idx="1164">
                  <c:v>0.207602337132623</c:v>
                </c:pt>
                <c:pt idx="1165">
                  <c:v>0.20198145424716896</c:v>
                </c:pt>
                <c:pt idx="1166">
                  <c:v>0.190839880663092</c:v>
                </c:pt>
                <c:pt idx="1167">
                  <c:v>0.190839880663092</c:v>
                </c:pt>
                <c:pt idx="1168">
                  <c:v>0.190839880663092</c:v>
                </c:pt>
                <c:pt idx="1169">
                  <c:v>0.1967619629042956</c:v>
                </c:pt>
                <c:pt idx="1170">
                  <c:v>0.20007422162465538</c:v>
                </c:pt>
                <c:pt idx="1171">
                  <c:v>0.20007422162465538</c:v>
                </c:pt>
                <c:pt idx="1172">
                  <c:v>0.20459112206919872</c:v>
                </c:pt>
                <c:pt idx="1173">
                  <c:v>0.2089072488930448</c:v>
                </c:pt>
                <c:pt idx="1174">
                  <c:v>0.2089072488930448</c:v>
                </c:pt>
                <c:pt idx="1175">
                  <c:v>0.2089072488930448</c:v>
                </c:pt>
                <c:pt idx="1176">
                  <c:v>0.213122949981839</c:v>
                </c:pt>
                <c:pt idx="1177">
                  <c:v>0.21492975686930071</c:v>
                </c:pt>
                <c:pt idx="1178">
                  <c:v>0.2140263145008665</c:v>
                </c:pt>
                <c:pt idx="1179">
                  <c:v>0.2140263145008665</c:v>
                </c:pt>
                <c:pt idx="1180">
                  <c:v>0.22225694305775723</c:v>
                </c:pt>
                <c:pt idx="1181">
                  <c:v>0.22225694305775723</c:v>
                </c:pt>
                <c:pt idx="1182">
                  <c:v>0.22225694305775723</c:v>
                </c:pt>
                <c:pt idx="1183">
                  <c:v>0.2248666887291939</c:v>
                </c:pt>
                <c:pt idx="1184">
                  <c:v>0.227074965008643</c:v>
                </c:pt>
                <c:pt idx="1185">
                  <c:v>0.23359929026253146</c:v>
                </c:pt>
                <c:pt idx="1186">
                  <c:v>0.23430195901026862</c:v>
                </c:pt>
                <c:pt idx="1187">
                  <c:v>0.23580756654198098</c:v>
                </c:pt>
                <c:pt idx="1188">
                  <c:v>0.23580756654198098</c:v>
                </c:pt>
                <c:pt idx="1189">
                  <c:v>0.23580756654198098</c:v>
                </c:pt>
                <c:pt idx="1190">
                  <c:v>0.23289669936420188</c:v>
                </c:pt>
                <c:pt idx="1191">
                  <c:v>0.22556935747693152</c:v>
                </c:pt>
                <c:pt idx="1192">
                  <c:v>0.23430195901026907</c:v>
                </c:pt>
                <c:pt idx="1193">
                  <c:v>0.22657306988160397</c:v>
                </c:pt>
                <c:pt idx="1194">
                  <c:v>0.225167810235537</c:v>
                </c:pt>
                <c:pt idx="1195">
                  <c:v>0.225167810235537</c:v>
                </c:pt>
                <c:pt idx="1196">
                  <c:v>0.225167810235537</c:v>
                </c:pt>
                <c:pt idx="1197">
                  <c:v>0.22767720802132851</c:v>
                </c:pt>
                <c:pt idx="1198">
                  <c:v>0.22297891845843498</c:v>
                </c:pt>
                <c:pt idx="1199">
                  <c:v>0.18662776064702147</c:v>
                </c:pt>
                <c:pt idx="1200">
                  <c:v>0.18672896487614388</c:v>
                </c:pt>
                <c:pt idx="1201">
                  <c:v>0.19604465846803998</c:v>
                </c:pt>
                <c:pt idx="1202">
                  <c:v>0.19604465846803998</c:v>
                </c:pt>
                <c:pt idx="1203">
                  <c:v>0.19604465846803998</c:v>
                </c:pt>
                <c:pt idx="1204">
                  <c:v>0.20343638181491364</c:v>
                </c:pt>
                <c:pt idx="1205">
                  <c:v>0.2135620206374167</c:v>
                </c:pt>
                <c:pt idx="1206">
                  <c:v>0.2135620206374167</c:v>
                </c:pt>
                <c:pt idx="1207">
                  <c:v>0.21457460787448923</c:v>
                </c:pt>
                <c:pt idx="1208">
                  <c:v>0.20536027421052938</c:v>
                </c:pt>
                <c:pt idx="1209">
                  <c:v>0.20536027421052938</c:v>
                </c:pt>
                <c:pt idx="1210">
                  <c:v>0.20536027421052938</c:v>
                </c:pt>
                <c:pt idx="1211">
                  <c:v>0.19300689675682303</c:v>
                </c:pt>
                <c:pt idx="1212">
                  <c:v>0.18976672658736105</c:v>
                </c:pt>
                <c:pt idx="1213">
                  <c:v>0.18976672658736105</c:v>
                </c:pt>
                <c:pt idx="1214">
                  <c:v>0.18743778372703512</c:v>
                </c:pt>
                <c:pt idx="1215">
                  <c:v>0.19979108333133455</c:v>
                </c:pt>
                <c:pt idx="1216">
                  <c:v>0.19979108333133455</c:v>
                </c:pt>
                <c:pt idx="1217">
                  <c:v>0.19979108333133455</c:v>
                </c:pt>
                <c:pt idx="1218">
                  <c:v>0.20809418968615834</c:v>
                </c:pt>
                <c:pt idx="1219">
                  <c:v>0.19644970893275038</c:v>
                </c:pt>
                <c:pt idx="1220">
                  <c:v>0.1965509131618728</c:v>
                </c:pt>
                <c:pt idx="1221">
                  <c:v>0.1965509131618728</c:v>
                </c:pt>
                <c:pt idx="1222">
                  <c:v>0.17832473214160482</c:v>
                </c:pt>
                <c:pt idx="1223">
                  <c:v>0.17832473214160482</c:v>
                </c:pt>
                <c:pt idx="1224">
                  <c:v>0.17832473214160482</c:v>
                </c:pt>
                <c:pt idx="1225">
                  <c:v>0.17812216798454616</c:v>
                </c:pt>
                <c:pt idx="1226">
                  <c:v>0.18146362023253726</c:v>
                </c:pt>
                <c:pt idx="1227">
                  <c:v>0.20070246633928446</c:v>
                </c:pt>
                <c:pt idx="1228">
                  <c:v>0.20080367056840664</c:v>
                </c:pt>
                <c:pt idx="1229">
                  <c:v>0.2110305914694388</c:v>
                </c:pt>
                <c:pt idx="1230">
                  <c:v>0.2110305914694388</c:v>
                </c:pt>
                <c:pt idx="1231">
                  <c:v>0.2110305914694388</c:v>
                </c:pt>
                <c:pt idx="1232">
                  <c:v>0.2110305914694388</c:v>
                </c:pt>
                <c:pt idx="1233">
                  <c:v>0.22480152877552095</c:v>
                </c:pt>
                <c:pt idx="1234">
                  <c:v>0.2292568503391137</c:v>
                </c:pt>
                <c:pt idx="1235">
                  <c:v>0.23604103691362543</c:v>
                </c:pt>
                <c:pt idx="1236">
                  <c:v>0.2359397548350961</c:v>
                </c:pt>
                <c:pt idx="1237">
                  <c:v>0.2359397548350961</c:v>
                </c:pt>
                <c:pt idx="1238">
                  <c:v>0.2359397548350961</c:v>
                </c:pt>
                <c:pt idx="1239">
                  <c:v>0.2211563081413488</c:v>
                </c:pt>
                <c:pt idx="1240">
                  <c:v>0.2292568503391137</c:v>
                </c:pt>
                <c:pt idx="1241">
                  <c:v>0.22561162970494153</c:v>
                </c:pt>
                <c:pt idx="1242">
                  <c:v>0.2350284496765529</c:v>
                </c:pt>
                <c:pt idx="1243">
                  <c:v>0.22713047163584643</c:v>
                </c:pt>
                <c:pt idx="1244">
                  <c:v>0.22713047163584643</c:v>
                </c:pt>
                <c:pt idx="1245">
                  <c:v>0.22713047163584643</c:v>
                </c:pt>
                <c:pt idx="1246">
                  <c:v>0.2172072412715882</c:v>
                </c:pt>
                <c:pt idx="1247">
                  <c:v>0.22824426310204116</c:v>
                </c:pt>
                <c:pt idx="1248">
                  <c:v>0.23421842659653924</c:v>
                </c:pt>
                <c:pt idx="1249">
                  <c:v>0.23847118400307354</c:v>
                </c:pt>
                <c:pt idx="1250">
                  <c:v>0.22854803148822245</c:v>
                </c:pt>
                <c:pt idx="1251">
                  <c:v>0.22854803148822245</c:v>
                </c:pt>
                <c:pt idx="1252">
                  <c:v>0.22854803148822245</c:v>
                </c:pt>
                <c:pt idx="1253">
                  <c:v>0.23847118400307377</c:v>
                </c:pt>
                <c:pt idx="1254">
                  <c:v>0.23867374816013243</c:v>
                </c:pt>
                <c:pt idx="1255">
                  <c:v>0.23755987884453056</c:v>
                </c:pt>
                <c:pt idx="1256">
                  <c:v>0.2519383529229746</c:v>
                </c:pt>
                <c:pt idx="1257">
                  <c:v>0.2517358666153229</c:v>
                </c:pt>
                <c:pt idx="1258">
                  <c:v>0.2517358666153229</c:v>
                </c:pt>
                <c:pt idx="1259">
                  <c:v>0.2517358666153229</c:v>
                </c:pt>
                <c:pt idx="1260">
                  <c:v>0.2517358666153229</c:v>
                </c:pt>
                <c:pt idx="1261">
                  <c:v>0.25689992918040017</c:v>
                </c:pt>
                <c:pt idx="1262">
                  <c:v>0.25538108724949504</c:v>
                </c:pt>
                <c:pt idx="1263">
                  <c:v>0.25365968116153126</c:v>
                </c:pt>
                <c:pt idx="1264">
                  <c:v>0.23664857368598735</c:v>
                </c:pt>
                <c:pt idx="1265">
                  <c:v>0.23664857368598735</c:v>
                </c:pt>
                <c:pt idx="1266">
                  <c:v>0.23664857368598735</c:v>
                </c:pt>
                <c:pt idx="1267">
                  <c:v>0.23006695126853427</c:v>
                </c:pt>
                <c:pt idx="1268">
                  <c:v>0.22814305887291875</c:v>
                </c:pt>
                <c:pt idx="1269">
                  <c:v>0.23047184603443038</c:v>
                </c:pt>
                <c:pt idx="1270">
                  <c:v>0.21173941032032984</c:v>
                </c:pt>
                <c:pt idx="1271">
                  <c:v>0.22348525100167405</c:v>
                </c:pt>
                <c:pt idx="1272">
                  <c:v>0.22348525100167405</c:v>
                </c:pt>
                <c:pt idx="1273">
                  <c:v>0.22348525100167405</c:v>
                </c:pt>
                <c:pt idx="1274">
                  <c:v>0.21052433677560578</c:v>
                </c:pt>
                <c:pt idx="1275">
                  <c:v>0.2017149757269494</c:v>
                </c:pt>
                <c:pt idx="1276">
                  <c:v>0.22075125767663795</c:v>
                </c:pt>
                <c:pt idx="1277">
                  <c:v>0.20191746203460093</c:v>
                </c:pt>
                <c:pt idx="1278">
                  <c:v>0.21001808208177297</c:v>
                </c:pt>
                <c:pt idx="1279">
                  <c:v>0.21001808208177297</c:v>
                </c:pt>
                <c:pt idx="1280">
                  <c:v>0.21001808208177297</c:v>
                </c:pt>
                <c:pt idx="1281">
                  <c:v>0.17872978260631434</c:v>
                </c:pt>
                <c:pt idx="1282">
                  <c:v>0.1725530549547578</c:v>
                </c:pt>
                <c:pt idx="1283">
                  <c:v>0.1795397278369213</c:v>
                </c:pt>
                <c:pt idx="1284">
                  <c:v>0.16607263676642736</c:v>
                </c:pt>
                <c:pt idx="1285">
                  <c:v>0.18926039404412087</c:v>
                </c:pt>
                <c:pt idx="1286">
                  <c:v>0.18926039404412087</c:v>
                </c:pt>
                <c:pt idx="1287">
                  <c:v>0.18926039404412087</c:v>
                </c:pt>
                <c:pt idx="1288">
                  <c:v>0.20110751680399463</c:v>
                </c:pt>
                <c:pt idx="1289">
                  <c:v>0.19250064206298978</c:v>
                </c:pt>
                <c:pt idx="1290">
                  <c:v>0.20222130827018936</c:v>
                </c:pt>
                <c:pt idx="1291">
                  <c:v>0.19715844993423448</c:v>
                </c:pt>
                <c:pt idx="1292">
                  <c:v>0.19462709861566396</c:v>
                </c:pt>
                <c:pt idx="1293">
                  <c:v>0.19462709861566396</c:v>
                </c:pt>
                <c:pt idx="1294">
                  <c:v>0.19462709861566396</c:v>
                </c:pt>
                <c:pt idx="1295">
                  <c:v>0.21214446078504046</c:v>
                </c:pt>
                <c:pt idx="1296">
                  <c:v>0.21275191970799545</c:v>
                </c:pt>
                <c:pt idx="1297">
                  <c:v>0.1993860328666237</c:v>
                </c:pt>
                <c:pt idx="1298">
                  <c:v>0.19766470462806707</c:v>
                </c:pt>
                <c:pt idx="1299">
                  <c:v>0.17700829866894385</c:v>
                </c:pt>
                <c:pt idx="1300">
                  <c:v>0.17700829866894385</c:v>
                </c:pt>
                <c:pt idx="1301">
                  <c:v>0.17700829866894385</c:v>
                </c:pt>
                <c:pt idx="1302">
                  <c:v>0.17852721844925612</c:v>
                </c:pt>
                <c:pt idx="1303">
                  <c:v>0.1826787716266678</c:v>
                </c:pt>
                <c:pt idx="1304">
                  <c:v>0.18875413935028806</c:v>
                </c:pt>
                <c:pt idx="1305">
                  <c:v>0.14328992995344403</c:v>
                </c:pt>
                <c:pt idx="1306">
                  <c:v>0.07332145195683903</c:v>
                </c:pt>
                <c:pt idx="1307">
                  <c:v>0.07332145195683903</c:v>
                </c:pt>
                <c:pt idx="1308">
                  <c:v>0.07332145195683903</c:v>
                </c:pt>
                <c:pt idx="1309">
                  <c:v>0.06289204474815513</c:v>
                </c:pt>
                <c:pt idx="1310">
                  <c:v>0.04891854328501455</c:v>
                </c:pt>
                <c:pt idx="1311">
                  <c:v>0.14116347340077007</c:v>
                </c:pt>
                <c:pt idx="1312">
                  <c:v>0.10622987544173235</c:v>
                </c:pt>
                <c:pt idx="1313">
                  <c:v>0.12496238900523982</c:v>
                </c:pt>
                <c:pt idx="1314">
                  <c:v>0.12496238900523982</c:v>
                </c:pt>
                <c:pt idx="1315">
                  <c:v>0.12496238900523982</c:v>
                </c:pt>
                <c:pt idx="1316">
                  <c:v>0.14065721870693726</c:v>
                </c:pt>
                <c:pt idx="1317">
                  <c:v>0.1413659597084218</c:v>
                </c:pt>
                <c:pt idx="1318">
                  <c:v>0.12324106076668317</c:v>
                </c:pt>
                <c:pt idx="1319">
                  <c:v>0.12800007286705006</c:v>
                </c:pt>
                <c:pt idx="1320">
                  <c:v>0.12800007286705006</c:v>
                </c:pt>
                <c:pt idx="1321">
                  <c:v>0.12800007286705006</c:v>
                </c:pt>
                <c:pt idx="1322">
                  <c:v>0.12800007286705006</c:v>
                </c:pt>
                <c:pt idx="1323">
                  <c:v>0.1097738918467821</c:v>
                </c:pt>
                <c:pt idx="1324">
                  <c:v>0.1347842594415618</c:v>
                </c:pt>
                <c:pt idx="1325">
                  <c:v>0.14865647882617328</c:v>
                </c:pt>
                <c:pt idx="1326">
                  <c:v>0.16961665317147734</c:v>
                </c:pt>
                <c:pt idx="1327">
                  <c:v>0.17640083974598886</c:v>
                </c:pt>
                <c:pt idx="1328">
                  <c:v>0.17640083974598886</c:v>
                </c:pt>
                <c:pt idx="1329">
                  <c:v>0.17640083974598886</c:v>
                </c:pt>
                <c:pt idx="1330">
                  <c:v>0.17862850052778545</c:v>
                </c:pt>
                <c:pt idx="1331">
                  <c:v>0.1846025861728764</c:v>
                </c:pt>
                <c:pt idx="1332">
                  <c:v>0.1846025861728764</c:v>
                </c:pt>
                <c:pt idx="1333">
                  <c:v>0.18895662565794002</c:v>
                </c:pt>
                <c:pt idx="1334">
                  <c:v>0.20910677692323043</c:v>
                </c:pt>
                <c:pt idx="1335">
                  <c:v>0.20910677692323043</c:v>
                </c:pt>
                <c:pt idx="1336">
                  <c:v>0.20910677692323043</c:v>
                </c:pt>
                <c:pt idx="1337">
                  <c:v>0.2066765519843754</c:v>
                </c:pt>
                <c:pt idx="1338">
                  <c:v>0.19968987910221192</c:v>
                </c:pt>
                <c:pt idx="1339">
                  <c:v>0.20070246633928424</c:v>
                </c:pt>
                <c:pt idx="1340">
                  <c:v>0.20465145535963747</c:v>
                </c:pt>
                <c:pt idx="1341">
                  <c:v>0.206271501519665</c:v>
                </c:pt>
                <c:pt idx="1342">
                  <c:v>0.206271501519665</c:v>
                </c:pt>
                <c:pt idx="1343">
                  <c:v>0.206271501519665</c:v>
                </c:pt>
                <c:pt idx="1344">
                  <c:v>0.23563598644891526</c:v>
                </c:pt>
                <c:pt idx="1345">
                  <c:v>0.24221768671577526</c:v>
                </c:pt>
                <c:pt idx="1346">
                  <c:v>0.2433315560313769</c:v>
                </c:pt>
                <c:pt idx="1347">
                  <c:v>0.2500144605273593</c:v>
                </c:pt>
                <c:pt idx="1348">
                  <c:v>0.2559886240218572</c:v>
                </c:pt>
                <c:pt idx="1349">
                  <c:v>0.2559886240218572</c:v>
                </c:pt>
                <c:pt idx="1350">
                  <c:v>0.2559886240218572</c:v>
                </c:pt>
                <c:pt idx="1351">
                  <c:v>0.2599376130422102</c:v>
                </c:pt>
                <c:pt idx="1352">
                  <c:v>0.2585200531898344</c:v>
                </c:pt>
                <c:pt idx="1353">
                  <c:v>0.24292650556666628</c:v>
                </c:pt>
                <c:pt idx="1354">
                  <c:v>0.24221768671577504</c:v>
                </c:pt>
                <c:pt idx="1355">
                  <c:v>0.23836997977395114</c:v>
                </c:pt>
                <c:pt idx="1356">
                  <c:v>0.23836997977395114</c:v>
                </c:pt>
                <c:pt idx="1357">
                  <c:v>0.23836997977395114</c:v>
                </c:pt>
                <c:pt idx="1358">
                  <c:v>0.23836997977395114</c:v>
                </c:pt>
                <c:pt idx="1359">
                  <c:v>0.25912758996219654</c:v>
                </c:pt>
                <c:pt idx="1360">
                  <c:v>0.2501157426058884</c:v>
                </c:pt>
                <c:pt idx="1361">
                  <c:v>0.2546723462480107</c:v>
                </c:pt>
                <c:pt idx="1362">
                  <c:v>0.25203963500150395</c:v>
                </c:pt>
                <c:pt idx="1363">
                  <c:v>0.25203963500150395</c:v>
                </c:pt>
                <c:pt idx="1364">
                  <c:v>0.25203963500150395</c:v>
                </c:pt>
                <c:pt idx="1365">
                  <c:v>0.26135525074399313</c:v>
                </c:pt>
                <c:pt idx="1366">
                  <c:v>0.2641903704487445</c:v>
                </c:pt>
                <c:pt idx="1367">
                  <c:v>0.2674306184676134</c:v>
                </c:pt>
                <c:pt idx="1368">
                  <c:v>0.26368419360431883</c:v>
                </c:pt>
                <c:pt idx="1369">
                  <c:v>0.27340478196211127</c:v>
                </c:pt>
                <c:pt idx="1370">
                  <c:v>0.27340478196211127</c:v>
                </c:pt>
                <c:pt idx="1371">
                  <c:v>0.27340478196211127</c:v>
                </c:pt>
                <c:pt idx="1372">
                  <c:v>0.2750248281221386</c:v>
                </c:pt>
                <c:pt idx="1373">
                  <c:v>0.281100273695166</c:v>
                </c:pt>
                <c:pt idx="1374">
                  <c:v>0.27937894545660935</c:v>
                </c:pt>
                <c:pt idx="1375">
                  <c:v>0.2844417259431573</c:v>
                </c:pt>
                <c:pt idx="1376">
                  <c:v>0.26965827924940977</c:v>
                </c:pt>
                <c:pt idx="1377">
                  <c:v>0.26965827924940977</c:v>
                </c:pt>
                <c:pt idx="1378">
                  <c:v>0.26965827924940977</c:v>
                </c:pt>
                <c:pt idx="1379">
                  <c:v>0.2807906666034585</c:v>
                </c:pt>
                <c:pt idx="1380">
                  <c:v>0.26783177646197265</c:v>
                </c:pt>
                <c:pt idx="1381">
                  <c:v>0.26823994090296366</c:v>
                </c:pt>
                <c:pt idx="1382">
                  <c:v>0.26823994090296366</c:v>
                </c:pt>
                <c:pt idx="1383">
                  <c:v>0.2626277771510954</c:v>
                </c:pt>
                <c:pt idx="1384">
                  <c:v>0.2626277771510954</c:v>
                </c:pt>
                <c:pt idx="1385">
                  <c:v>0.2626277771510954</c:v>
                </c:pt>
                <c:pt idx="1386">
                  <c:v>0.2739540873780242</c:v>
                </c:pt>
                <c:pt idx="1387">
                  <c:v>0.29079050078422153</c:v>
                </c:pt>
                <c:pt idx="1388">
                  <c:v>0.289872189179047</c:v>
                </c:pt>
                <c:pt idx="1389">
                  <c:v>0.3006882743923851</c:v>
                </c:pt>
                <c:pt idx="1390">
                  <c:v>0.30650440359063835</c:v>
                </c:pt>
                <c:pt idx="1391">
                  <c:v>0.30650440359063835</c:v>
                </c:pt>
                <c:pt idx="1392">
                  <c:v>0.30650440359063835</c:v>
                </c:pt>
                <c:pt idx="1393">
                  <c:v>0.31221870576451316</c:v>
                </c:pt>
                <c:pt idx="1394">
                  <c:v>0.3115043596057234</c:v>
                </c:pt>
                <c:pt idx="1395">
                  <c:v>0.31681041948919986</c:v>
                </c:pt>
                <c:pt idx="1396">
                  <c:v>0.32436118917460965</c:v>
                </c:pt>
                <c:pt idx="1397">
                  <c:v>0.32436118917460965</c:v>
                </c:pt>
                <c:pt idx="1398">
                  <c:v>0.32436118917460965</c:v>
                </c:pt>
                <c:pt idx="1399">
                  <c:v>0.32436118917460965</c:v>
                </c:pt>
                <c:pt idx="1400">
                  <c:v>0.3128309135012959</c:v>
                </c:pt>
                <c:pt idx="1401">
                  <c:v>0.3150757790020433</c:v>
                </c:pt>
                <c:pt idx="1402">
                  <c:v>0.322218462095869</c:v>
                </c:pt>
                <c:pt idx="1403">
                  <c:v>0.3249735526102069</c:v>
                </c:pt>
                <c:pt idx="1404">
                  <c:v>0.31834093883115777</c:v>
                </c:pt>
                <c:pt idx="1405">
                  <c:v>0.31834093883115777</c:v>
                </c:pt>
                <c:pt idx="1406">
                  <c:v>0.31834093883115777</c:v>
                </c:pt>
                <c:pt idx="1407">
                  <c:v>0.3201777177403209</c:v>
                </c:pt>
                <c:pt idx="1408">
                  <c:v>0.3146675367116454</c:v>
                </c:pt>
                <c:pt idx="1409">
                  <c:v>0.31976947544992296</c:v>
                </c:pt>
                <c:pt idx="1410">
                  <c:v>0.3250755353333994</c:v>
                </c:pt>
                <c:pt idx="1411">
                  <c:v>0.3240550853062183</c:v>
                </c:pt>
                <c:pt idx="1412">
                  <c:v>0.3240550853062183</c:v>
                </c:pt>
                <c:pt idx="1413">
                  <c:v>0.3240550853062183</c:v>
                </c:pt>
                <c:pt idx="1414">
                  <c:v>0.32783062584773726</c:v>
                </c:pt>
                <c:pt idx="1415">
                  <c:v>0.33007549134848446</c:v>
                </c:pt>
                <c:pt idx="1416">
                  <c:v>0.3458913768780938</c:v>
                </c:pt>
                <c:pt idx="1417">
                  <c:v>0.34313644206257</c:v>
                </c:pt>
                <c:pt idx="1418">
                  <c:v>0.3456874114317088</c:v>
                </c:pt>
                <c:pt idx="1419">
                  <c:v>0.3456874114317088</c:v>
                </c:pt>
                <c:pt idx="1420">
                  <c:v>0.3456874114317088</c:v>
                </c:pt>
                <c:pt idx="1421">
                  <c:v>0.3396670053894426</c:v>
                </c:pt>
                <c:pt idx="1422">
                  <c:v>0.3372181744423104</c:v>
                </c:pt>
                <c:pt idx="1423">
                  <c:v>0.332728443440816</c:v>
                </c:pt>
                <c:pt idx="1424">
                  <c:v>0.3260959853605807</c:v>
                </c:pt>
                <c:pt idx="1425">
                  <c:v>0.3093616325269828</c:v>
                </c:pt>
                <c:pt idx="1426">
                  <c:v>0.3093616325269828</c:v>
                </c:pt>
                <c:pt idx="1427">
                  <c:v>0.3093616325269828</c:v>
                </c:pt>
                <c:pt idx="1428">
                  <c:v>0.32823871243932135</c:v>
                </c:pt>
                <c:pt idx="1429">
                  <c:v>0.32456531031980895</c:v>
                </c:pt>
                <c:pt idx="1430">
                  <c:v>0.3344630839279725</c:v>
                </c:pt>
                <c:pt idx="1431">
                  <c:v>0.33762626103389426</c:v>
                </c:pt>
                <c:pt idx="1432">
                  <c:v>0.3454832902865095</c:v>
                </c:pt>
                <c:pt idx="1433">
                  <c:v>0.3454832902865095</c:v>
                </c:pt>
                <c:pt idx="1434">
                  <c:v>0.3454832902865095</c:v>
                </c:pt>
                <c:pt idx="1435">
                  <c:v>0.3419118708901896</c:v>
                </c:pt>
                <c:pt idx="1436">
                  <c:v>0.35660547936823916</c:v>
                </c:pt>
                <c:pt idx="1437">
                  <c:v>0.36282985085689057</c:v>
                </c:pt>
                <c:pt idx="1438">
                  <c:v>0.36068712377814993</c:v>
                </c:pt>
                <c:pt idx="1439">
                  <c:v>0.3609932276465415</c:v>
                </c:pt>
                <c:pt idx="1440">
                  <c:v>0.3609932276465415</c:v>
                </c:pt>
                <c:pt idx="1441">
                  <c:v>0.3609932276465415</c:v>
                </c:pt>
                <c:pt idx="1442">
                  <c:v>0.3612993315149331</c:v>
                </c:pt>
                <c:pt idx="1443">
                  <c:v>0.3540545099991008</c:v>
                </c:pt>
                <c:pt idx="1444">
                  <c:v>0.3525239906571431</c:v>
                </c:pt>
                <c:pt idx="1445">
                  <c:v>0.3473199134968592</c:v>
                </c:pt>
                <c:pt idx="1446">
                  <c:v>0.36956444735913263</c:v>
                </c:pt>
                <c:pt idx="1447">
                  <c:v>0.36956444735913263</c:v>
                </c:pt>
                <c:pt idx="1448">
                  <c:v>0.36956444735913263</c:v>
                </c:pt>
                <c:pt idx="1449">
                  <c:v>0.36068712377815015</c:v>
                </c:pt>
                <c:pt idx="1450">
                  <c:v>0.3635441970156803</c:v>
                </c:pt>
                <c:pt idx="1451">
                  <c:v>0.3640542663304567</c:v>
                </c:pt>
                <c:pt idx="1452">
                  <c:v>0.3695644473591322</c:v>
                </c:pt>
                <c:pt idx="1453">
                  <c:v>0.36160543538332446</c:v>
                </c:pt>
                <c:pt idx="1454">
                  <c:v>0.36160543538332446</c:v>
                </c:pt>
                <c:pt idx="1455">
                  <c:v>0.36160543538332446</c:v>
                </c:pt>
                <c:pt idx="1456">
                  <c:v>0.36160543538332446</c:v>
                </c:pt>
                <c:pt idx="1457">
                  <c:v>0.35201376564355247</c:v>
                </c:pt>
                <c:pt idx="1458">
                  <c:v>0.357727912118613</c:v>
                </c:pt>
                <c:pt idx="1459">
                  <c:v>0.3668093568447943</c:v>
                </c:pt>
                <c:pt idx="1460">
                  <c:v>0.3680339280171745</c:v>
                </c:pt>
                <c:pt idx="1461">
                  <c:v>0.3680339280171745</c:v>
                </c:pt>
                <c:pt idx="1462">
                  <c:v>0.3680339280171745</c:v>
                </c:pt>
                <c:pt idx="1463">
                  <c:v>0.37466638609740976</c:v>
                </c:pt>
                <c:pt idx="1464">
                  <c:v>0.3767071304529579</c:v>
                </c:pt>
                <c:pt idx="1465">
                  <c:v>0.37976832483568734</c:v>
                </c:pt>
                <c:pt idx="1466">
                  <c:v>0.3933395005633633</c:v>
                </c:pt>
                <c:pt idx="1467">
                  <c:v>0.3912987562078152</c:v>
                </c:pt>
                <c:pt idx="1468">
                  <c:v>0.3912987562078152</c:v>
                </c:pt>
                <c:pt idx="1469">
                  <c:v>0.3912987562078152</c:v>
                </c:pt>
                <c:pt idx="1470">
                  <c:v>0.4003802009339965</c:v>
                </c:pt>
                <c:pt idx="1471">
                  <c:v>0.3989516643152313</c:v>
                </c:pt>
                <c:pt idx="1472">
                  <c:v>0.39762511041965865</c:v>
                </c:pt>
                <c:pt idx="1473">
                  <c:v>0.4034412396179119</c:v>
                </c:pt>
                <c:pt idx="1474">
                  <c:v>0.4056861051186591</c:v>
                </c:pt>
                <c:pt idx="1475">
                  <c:v>0.4056861051186591</c:v>
                </c:pt>
                <c:pt idx="1476">
                  <c:v>0.4056861051186591</c:v>
                </c:pt>
                <c:pt idx="1477">
                  <c:v>0.4123187188977082</c:v>
                </c:pt>
                <c:pt idx="1478">
                  <c:v>0.4070126590142318</c:v>
                </c:pt>
                <c:pt idx="1479">
                  <c:v>0.4009924086707797</c:v>
                </c:pt>
                <c:pt idx="1480">
                  <c:v>0.394053691023339</c:v>
                </c:pt>
                <c:pt idx="1481">
                  <c:v>0.40140049526236377</c:v>
                </c:pt>
                <c:pt idx="1482">
                  <c:v>0.40140049526236377</c:v>
                </c:pt>
                <c:pt idx="1483">
                  <c:v>0.40140049526236377</c:v>
                </c:pt>
                <c:pt idx="1484">
                  <c:v>0.4048697762366771</c:v>
                </c:pt>
                <c:pt idx="1485">
                  <c:v>0.4105840784105519</c:v>
                </c:pt>
              </c:numCache>
            </c:numRef>
          </c:val>
          <c:smooth val="0"/>
          <c:extLst>
            <c:ext xmlns:c16="http://schemas.microsoft.com/office/drawing/2014/chart" uri="{C3380CC4-5D6E-409C-BE32-E72D297353CC}">
              <c16:uniqueId val="{00000001-1D55-4091-B462-1B341D70D85C}"/>
            </c:ext>
          </c:extLst>
        </c:ser>
        <c:ser>
          <c:idx val="2"/>
          <c:order val="2"/>
          <c:tx>
            <c:strRef>
              <c:f>Sheet1!$D$1</c:f>
              <c:strCache>
                <c:ptCount val="1"/>
                <c:pt idx="0">
                  <c:v>Porfolio return ZMW</c:v>
                </c:pt>
              </c:strCache>
            </c:strRef>
          </c:tx>
          <c:spPr>
            <a:ln w="12700" cap="rnd">
              <a:solidFill>
                <a:schemeClr val="accent1">
                  <a:lumMod val="20000"/>
                  <a:lumOff val="80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D$2:$D$1487</c:f>
              <c:numCache>
                <c:formatCode>General</c:formatCode>
                <c:ptCount val="1486"/>
                <c:pt idx="0">
                  <c:v>0.0</c:v>
                </c:pt>
                <c:pt idx="1">
                  <c:v>-0.007634244642889643</c:v>
                </c:pt>
                <c:pt idx="2">
                  <c:v>-0.019533001447581078</c:v>
                </c:pt>
                <c:pt idx="3">
                  <c:v>-0.020884177730891018</c:v>
                </c:pt>
                <c:pt idx="4">
                  <c:v>-0.019635927337207426</c:v>
                </c:pt>
                <c:pt idx="5">
                  <c:v>-0.019635927337207426</c:v>
                </c:pt>
                <c:pt idx="6">
                  <c:v>-0.019635927337207426</c:v>
                </c:pt>
                <c:pt idx="7">
                  <c:v>-0.0272317677195546</c:v>
                </c:pt>
                <c:pt idx="8">
                  <c:v>-0.028970608033483503</c:v>
                </c:pt>
                <c:pt idx="9">
                  <c:v>-0.019391066204796026</c:v>
                </c:pt>
                <c:pt idx="10">
                  <c:v>-0.026537039003138085</c:v>
                </c:pt>
                <c:pt idx="11">
                  <c:v>-0.03985621066469369</c:v>
                </c:pt>
                <c:pt idx="12">
                  <c:v>-0.03985621066469369</c:v>
                </c:pt>
                <c:pt idx="13">
                  <c:v>-0.03985621066469369</c:v>
                </c:pt>
                <c:pt idx="14">
                  <c:v>-0.0671797050471401</c:v>
                </c:pt>
                <c:pt idx="15">
                  <c:v>-0.06393017199619555</c:v>
                </c:pt>
                <c:pt idx="16">
                  <c:v>-0.046921427028216445</c:v>
                </c:pt>
                <c:pt idx="17">
                  <c:v>-0.03121740356580749</c:v>
                </c:pt>
                <c:pt idx="18">
                  <c:v>-0.030966904074893442</c:v>
                </c:pt>
                <c:pt idx="19">
                  <c:v>-0.030966904074893442</c:v>
                </c:pt>
                <c:pt idx="20">
                  <c:v>-0.030966904074893442</c:v>
                </c:pt>
                <c:pt idx="21">
                  <c:v>-0.037355147739076444</c:v>
                </c:pt>
                <c:pt idx="22">
                  <c:v>-0.04898080053082632</c:v>
                </c:pt>
                <c:pt idx="23">
                  <c:v>-0.048843738621658916</c:v>
                </c:pt>
                <c:pt idx="24">
                  <c:v>-0.05023902473561215</c:v>
                </c:pt>
                <c:pt idx="25">
                  <c:v>-0.04586441543331343</c:v>
                </c:pt>
                <c:pt idx="26">
                  <c:v>-0.04586441543331343</c:v>
                </c:pt>
                <c:pt idx="27">
                  <c:v>-0.04586441543331343</c:v>
                </c:pt>
                <c:pt idx="28">
                  <c:v>-0.06135975835924723</c:v>
                </c:pt>
                <c:pt idx="29">
                  <c:v>-0.04312354653310857</c:v>
                </c:pt>
                <c:pt idx="30">
                  <c:v>-0.04200617617300495</c:v>
                </c:pt>
                <c:pt idx="31">
                  <c:v>-0.021796715240537723</c:v>
                </c:pt>
                <c:pt idx="32">
                  <c:v>-0.019158047744242235</c:v>
                </c:pt>
                <c:pt idx="33">
                  <c:v>-0.019158047744242235</c:v>
                </c:pt>
                <c:pt idx="34">
                  <c:v>-0.019158047744242235</c:v>
                </c:pt>
                <c:pt idx="35">
                  <c:v>-0.01260603735841237</c:v>
                </c:pt>
                <c:pt idx="36">
                  <c:v>-0.016567721229146626</c:v>
                </c:pt>
                <c:pt idx="37">
                  <c:v>-0.008597450775082338</c:v>
                </c:pt>
                <c:pt idx="38">
                  <c:v>0.001851494475414217</c:v>
                </c:pt>
                <c:pt idx="39">
                  <c:v>0.02764370102880931</c:v>
                </c:pt>
                <c:pt idx="40">
                  <c:v>0.02764370102880931</c:v>
                </c:pt>
                <c:pt idx="41">
                  <c:v>0.02764370102880931</c:v>
                </c:pt>
                <c:pt idx="42">
                  <c:v>0.05245970967057989</c:v>
                </c:pt>
                <c:pt idx="43">
                  <c:v>0.046544504312662216</c:v>
                </c:pt>
                <c:pt idx="44">
                  <c:v>0.06328325528787504</c:v>
                </c:pt>
                <c:pt idx="45">
                  <c:v>0.05978095413686546</c:v>
                </c:pt>
                <c:pt idx="46">
                  <c:v>0.056849291551829495</c:v>
                </c:pt>
                <c:pt idx="47">
                  <c:v>0.056849291551829495</c:v>
                </c:pt>
                <c:pt idx="48">
                  <c:v>0.056849291551829495</c:v>
                </c:pt>
                <c:pt idx="49">
                  <c:v>0.06818924101547408</c:v>
                </c:pt>
                <c:pt idx="50">
                  <c:v>0.07442662663209831</c:v>
                </c:pt>
                <c:pt idx="51">
                  <c:v>0.05752766288988198</c:v>
                </c:pt>
                <c:pt idx="52">
                  <c:v>0.06948443470820953</c:v>
                </c:pt>
                <c:pt idx="53">
                  <c:v>0.07855809567000516</c:v>
                </c:pt>
                <c:pt idx="54">
                  <c:v>0.07855809567000516</c:v>
                </c:pt>
                <c:pt idx="55">
                  <c:v>0.07855809567000516</c:v>
                </c:pt>
                <c:pt idx="56">
                  <c:v>0.07654123289583215</c:v>
                </c:pt>
                <c:pt idx="57">
                  <c:v>0.08045322352124207</c:v>
                </c:pt>
                <c:pt idx="58">
                  <c:v>0.07907215187810213</c:v>
                </c:pt>
                <c:pt idx="59">
                  <c:v>0.1000260987198407</c:v>
                </c:pt>
                <c:pt idx="60">
                  <c:v>0.10384413083454769</c:v>
                </c:pt>
                <c:pt idx="61">
                  <c:v>0.10384413083454769</c:v>
                </c:pt>
                <c:pt idx="62">
                  <c:v>0.10384413083454769</c:v>
                </c:pt>
                <c:pt idx="63">
                  <c:v>0.11412922311343277</c:v>
                </c:pt>
                <c:pt idx="64">
                  <c:v>0.11237365148542855</c:v>
                </c:pt>
                <c:pt idx="65">
                  <c:v>0.09557641678919615</c:v>
                </c:pt>
                <c:pt idx="66">
                  <c:v>0.10634984096370204</c:v>
                </c:pt>
                <c:pt idx="67">
                  <c:v>0.1131237652132766</c:v>
                </c:pt>
                <c:pt idx="68">
                  <c:v>0.1131237652132766</c:v>
                </c:pt>
                <c:pt idx="69">
                  <c:v>0.1131237652132766</c:v>
                </c:pt>
                <c:pt idx="70">
                  <c:v>0.10738588188586995</c:v>
                </c:pt>
                <c:pt idx="71">
                  <c:v>0.11455802343072174</c:v>
                </c:pt>
                <c:pt idx="72">
                  <c:v>0.1155128448702416</c:v>
                </c:pt>
                <c:pt idx="73">
                  <c:v>0.11514639184389264</c:v>
                </c:pt>
                <c:pt idx="74">
                  <c:v>0.11135321410226862</c:v>
                </c:pt>
                <c:pt idx="75">
                  <c:v>0.11135321410226862</c:v>
                </c:pt>
                <c:pt idx="76">
                  <c:v>0.11135321410226862</c:v>
                </c:pt>
                <c:pt idx="77">
                  <c:v>0.10682082794669245</c:v>
                </c:pt>
                <c:pt idx="78">
                  <c:v>0.09833393420878167</c:v>
                </c:pt>
                <c:pt idx="79">
                  <c:v>0.08079271085608908</c:v>
                </c:pt>
                <c:pt idx="80">
                  <c:v>0.0867247673924354</c:v>
                </c:pt>
                <c:pt idx="81">
                  <c:v>0.054298408033735646</c:v>
                </c:pt>
                <c:pt idx="82">
                  <c:v>0.054298408033735646</c:v>
                </c:pt>
                <c:pt idx="83">
                  <c:v>0.054298408033735646</c:v>
                </c:pt>
                <c:pt idx="84">
                  <c:v>0.06913049084129308</c:v>
                </c:pt>
                <c:pt idx="85">
                  <c:v>0.048233967044191584</c:v>
                </c:pt>
                <c:pt idx="86">
                  <c:v>0.04302927892933717</c:v>
                </c:pt>
                <c:pt idx="87">
                  <c:v>0.055067237886761156</c:v>
                </c:pt>
                <c:pt idx="88">
                  <c:v>0.03411694277246036</c:v>
                </c:pt>
                <c:pt idx="89">
                  <c:v>0.03411694277246036</c:v>
                </c:pt>
                <c:pt idx="90">
                  <c:v>0.03411694277246036</c:v>
                </c:pt>
                <c:pt idx="91">
                  <c:v>0.03663814265487386</c:v>
                </c:pt>
                <c:pt idx="92">
                  <c:v>0.06083219354738989</c:v>
                </c:pt>
                <c:pt idx="93">
                  <c:v>0.05997500519509136</c:v>
                </c:pt>
                <c:pt idx="94">
                  <c:v>0.04020430608806613</c:v>
                </c:pt>
                <c:pt idx="95">
                  <c:v>-0.039790457474828345</c:v>
                </c:pt>
                <c:pt idx="96">
                  <c:v>-0.039790457474828345</c:v>
                </c:pt>
                <c:pt idx="97">
                  <c:v>-0.039790457474828345</c:v>
                </c:pt>
                <c:pt idx="98">
                  <c:v>-0.0540109204467194</c:v>
                </c:pt>
                <c:pt idx="99">
                  <c:v>-0.062202797877169314</c:v>
                </c:pt>
                <c:pt idx="100">
                  <c:v>-0.04661062792531645</c:v>
                </c:pt>
                <c:pt idx="101">
                  <c:v>-0.04862235090933975</c:v>
                </c:pt>
                <c:pt idx="102">
                  <c:v>-0.05862054257831906</c:v>
                </c:pt>
                <c:pt idx="103">
                  <c:v>-0.05862054257831906</c:v>
                </c:pt>
                <c:pt idx="104">
                  <c:v>-0.05862054257831906</c:v>
                </c:pt>
                <c:pt idx="105">
                  <c:v>-0.0684371738336379</c:v>
                </c:pt>
                <c:pt idx="106">
                  <c:v>-0.049336486780608424</c:v>
                </c:pt>
                <c:pt idx="107">
                  <c:v>-0.037814851057565546</c:v>
                </c:pt>
                <c:pt idx="108">
                  <c:v>-0.023307271946546915</c:v>
                </c:pt>
                <c:pt idx="109">
                  <c:v>-0.02260678042831865</c:v>
                </c:pt>
                <c:pt idx="110">
                  <c:v>-0.02260678042831865</c:v>
                </c:pt>
                <c:pt idx="111">
                  <c:v>-0.02260678042831865</c:v>
                </c:pt>
                <c:pt idx="112">
                  <c:v>-0.01576364680000697</c:v>
                </c:pt>
                <c:pt idx="113">
                  <c:v>-0.01988487199535449</c:v>
                </c:pt>
                <c:pt idx="114">
                  <c:v>-0.022521427407453998</c:v>
                </c:pt>
                <c:pt idx="115">
                  <c:v>-0.02159307494835716</c:v>
                </c:pt>
                <c:pt idx="116">
                  <c:v>-0.020603159322787556</c:v>
                </c:pt>
                <c:pt idx="117">
                  <c:v>-0.020603159322787556</c:v>
                </c:pt>
                <c:pt idx="118">
                  <c:v>-0.020603159322787556</c:v>
                </c:pt>
                <c:pt idx="119">
                  <c:v>-0.014776304222380965</c:v>
                </c:pt>
                <c:pt idx="120">
                  <c:v>-0.0171850931729709</c:v>
                </c:pt>
                <c:pt idx="121">
                  <c:v>-0.03815689616975004</c:v>
                </c:pt>
                <c:pt idx="122">
                  <c:v>-0.04072987320258281</c:v>
                </c:pt>
                <c:pt idx="123">
                  <c:v>-0.04748779251155488</c:v>
                </c:pt>
                <c:pt idx="124">
                  <c:v>-0.04748779251155488</c:v>
                </c:pt>
                <c:pt idx="125">
                  <c:v>-0.04748779251155488</c:v>
                </c:pt>
                <c:pt idx="126">
                  <c:v>-0.05262036530739844</c:v>
                </c:pt>
                <c:pt idx="127">
                  <c:v>-0.018287575743444417</c:v>
                </c:pt>
                <c:pt idx="128">
                  <c:v>0.006514048199585787</c:v>
                </c:pt>
                <c:pt idx="129">
                  <c:v>-0.004132722102384245</c:v>
                </c:pt>
                <c:pt idx="130">
                  <c:v>-0.0022608271800068636</c:v>
                </c:pt>
                <c:pt idx="131">
                  <c:v>-0.0022608271800068636</c:v>
                </c:pt>
                <c:pt idx="132">
                  <c:v>-0.0022608271800068636</c:v>
                </c:pt>
                <c:pt idx="133">
                  <c:v>-0.0025921946786824357</c:v>
                </c:pt>
                <c:pt idx="134">
                  <c:v>-0.016255403500646026</c:v>
                </c:pt>
                <c:pt idx="135">
                  <c:v>-0.015601290203942408</c:v>
                </c:pt>
                <c:pt idx="136">
                  <c:v>-0.014284225095026137</c:v>
                </c:pt>
                <c:pt idx="137">
                  <c:v>-0.03663976652993628</c:v>
                </c:pt>
                <c:pt idx="138">
                  <c:v>-0.03663976652993628</c:v>
                </c:pt>
                <c:pt idx="139">
                  <c:v>-0.03663976652993628</c:v>
                </c:pt>
                <c:pt idx="140">
                  <c:v>-0.04944604382018403</c:v>
                </c:pt>
                <c:pt idx="141">
                  <c:v>-0.063859297183266</c:v>
                </c:pt>
                <c:pt idx="142">
                  <c:v>-0.056643707907443774</c:v>
                </c:pt>
                <c:pt idx="143">
                  <c:v>-0.06372439828339171</c:v>
                </c:pt>
                <c:pt idx="144">
                  <c:v>-0.04319086365188918</c:v>
                </c:pt>
                <c:pt idx="145">
                  <c:v>-0.04319086365188918</c:v>
                </c:pt>
                <c:pt idx="146">
                  <c:v>-0.04319086365188918</c:v>
                </c:pt>
                <c:pt idx="147">
                  <c:v>-0.008790387298631686</c:v>
                </c:pt>
                <c:pt idx="148">
                  <c:v>0.010520961220869207</c:v>
                </c:pt>
                <c:pt idx="149">
                  <c:v>0.015017131209815515</c:v>
                </c:pt>
                <c:pt idx="150">
                  <c:v>-0.006855648832140515</c:v>
                </c:pt>
                <c:pt idx="151">
                  <c:v>0.012243768822696177</c:v>
                </c:pt>
                <c:pt idx="152">
                  <c:v>0.012243768822696177</c:v>
                </c:pt>
                <c:pt idx="153">
                  <c:v>0.012243768822696177</c:v>
                </c:pt>
                <c:pt idx="154">
                  <c:v>0.02124014212390346</c:v>
                </c:pt>
                <c:pt idx="155">
                  <c:v>0.02895781925101315</c:v>
                </c:pt>
                <c:pt idx="156">
                  <c:v>0.06351812383757216</c:v>
                </c:pt>
                <c:pt idx="157">
                  <c:v>0.058717831171735124</c:v>
                </c:pt>
                <c:pt idx="158">
                  <c:v>0.0467493343133738</c:v>
                </c:pt>
                <c:pt idx="159">
                  <c:v>0.0467493343133738</c:v>
                </c:pt>
                <c:pt idx="160">
                  <c:v>0.0467493343133738</c:v>
                </c:pt>
                <c:pt idx="161">
                  <c:v>0.04520826674708078</c:v>
                </c:pt>
                <c:pt idx="162">
                  <c:v>0.06396251969061217</c:v>
                </c:pt>
                <c:pt idx="163">
                  <c:v>0.03926576394462811</c:v>
                </c:pt>
                <c:pt idx="164">
                  <c:v>-0.010344652679749156</c:v>
                </c:pt>
                <c:pt idx="165">
                  <c:v>-0.05081054436484578</c:v>
                </c:pt>
                <c:pt idx="166">
                  <c:v>-0.05081054436484578</c:v>
                </c:pt>
                <c:pt idx="167">
                  <c:v>-0.05081054436484578</c:v>
                </c:pt>
                <c:pt idx="168">
                  <c:v>-0.06211821079188695</c:v>
                </c:pt>
                <c:pt idx="169">
                  <c:v>-0.06355760962162083</c:v>
                </c:pt>
                <c:pt idx="170">
                  <c:v>-0.06602155874407667</c:v>
                </c:pt>
                <c:pt idx="171">
                  <c:v>-0.060537953383537624</c:v>
                </c:pt>
                <c:pt idx="172">
                  <c:v>-0.03283162444452714</c:v>
                </c:pt>
                <c:pt idx="173">
                  <c:v>-0.03283162444452714</c:v>
                </c:pt>
                <c:pt idx="174">
                  <c:v>-0.03283162444452714</c:v>
                </c:pt>
                <c:pt idx="175">
                  <c:v>-0.040438785841292124</c:v>
                </c:pt>
                <c:pt idx="176">
                  <c:v>-0.04875658056547383</c:v>
                </c:pt>
                <c:pt idx="177">
                  <c:v>-0.0377381782614673</c:v>
                </c:pt>
                <c:pt idx="178">
                  <c:v>-0.03664698079565598</c:v>
                </c:pt>
                <c:pt idx="179">
                  <c:v>-0.04702790148069169</c:v>
                </c:pt>
                <c:pt idx="180">
                  <c:v>-0.04702790148069169</c:v>
                </c:pt>
                <c:pt idx="181">
                  <c:v>-0.04702790148069169</c:v>
                </c:pt>
                <c:pt idx="182">
                  <c:v>-0.07715077538912396</c:v>
                </c:pt>
                <c:pt idx="183">
                  <c:v>-0.07562170120161915</c:v>
                </c:pt>
                <c:pt idx="184">
                  <c:v>-0.04324726934000578</c:v>
                </c:pt>
                <c:pt idx="185">
                  <c:v>-0.04144289320530925</c:v>
                </c:pt>
                <c:pt idx="186">
                  <c:v>-0.05128657803413739</c:v>
                </c:pt>
                <c:pt idx="187">
                  <c:v>-0.05128657803413739</c:v>
                </c:pt>
                <c:pt idx="188">
                  <c:v>-0.05128657803413739</c:v>
                </c:pt>
                <c:pt idx="189">
                  <c:v>-0.06887449240325483</c:v>
                </c:pt>
                <c:pt idx="190">
                  <c:v>-0.06356270537411579</c:v>
                </c:pt>
                <c:pt idx="191">
                  <c:v>-0.046184118101418314</c:v>
                </c:pt>
                <c:pt idx="192">
                  <c:v>-0.02808485114185022</c:v>
                </c:pt>
                <c:pt idx="193">
                  <c:v>-0.013943289805272707</c:v>
                </c:pt>
                <c:pt idx="194">
                  <c:v>-0.013943289805272707</c:v>
                </c:pt>
                <c:pt idx="195">
                  <c:v>-0.013943289805272707</c:v>
                </c:pt>
                <c:pt idx="196">
                  <c:v>-0.02003017990241518</c:v>
                </c:pt>
                <c:pt idx="197">
                  <c:v>-0.00933710752421646</c:v>
                </c:pt>
                <c:pt idx="198">
                  <c:v>-0.0218267020350843</c:v>
                </c:pt>
                <c:pt idx="199">
                  <c:v>-0.0031844349034363395</c:v>
                </c:pt>
                <c:pt idx="200">
                  <c:v>-0.0034248290988678765</c:v>
                </c:pt>
                <c:pt idx="201">
                  <c:v>-0.0034248290988678765</c:v>
                </c:pt>
                <c:pt idx="202">
                  <c:v>-0.0034248290988678765</c:v>
                </c:pt>
                <c:pt idx="203">
                  <c:v>0.009939899933486318</c:v>
                </c:pt>
                <c:pt idx="204">
                  <c:v>0.031312635932958965</c:v>
                </c:pt>
                <c:pt idx="205">
                  <c:v>0.03539877495063837</c:v>
                </c:pt>
                <c:pt idx="206">
                  <c:v>0.019083234558084028</c:v>
                </c:pt>
                <c:pt idx="207">
                  <c:v>0.028228056613867958</c:v>
                </c:pt>
                <c:pt idx="208">
                  <c:v>0.028228056613867958</c:v>
                </c:pt>
                <c:pt idx="209">
                  <c:v>0.028228056613867958</c:v>
                </c:pt>
                <c:pt idx="210">
                  <c:v>0.03177139918155514</c:v>
                </c:pt>
                <c:pt idx="211">
                  <c:v>-0.010298679373165864</c:v>
                </c:pt>
                <c:pt idx="212">
                  <c:v>-0.03250616543501905</c:v>
                </c:pt>
                <c:pt idx="213">
                  <c:v>-0.03429675831334145</c:v>
                </c:pt>
                <c:pt idx="214">
                  <c:v>-0.03743486362606652</c:v>
                </c:pt>
                <c:pt idx="215">
                  <c:v>-0.03743486362606652</c:v>
                </c:pt>
                <c:pt idx="216">
                  <c:v>-0.03743486362606652</c:v>
                </c:pt>
                <c:pt idx="217">
                  <c:v>-0.06041439845230845</c:v>
                </c:pt>
                <c:pt idx="218">
                  <c:v>-0.06388839052987727</c:v>
                </c:pt>
                <c:pt idx="219">
                  <c:v>-0.053976744972278334</c:v>
                </c:pt>
                <c:pt idx="220">
                  <c:v>-0.0672227217494541</c:v>
                </c:pt>
                <c:pt idx="221">
                  <c:v>-0.06750592387190424</c:v>
                </c:pt>
                <c:pt idx="222">
                  <c:v>-0.06750592387190424</c:v>
                </c:pt>
                <c:pt idx="223">
                  <c:v>-0.06750592387190424</c:v>
                </c:pt>
                <c:pt idx="224">
                  <c:v>-0.05608949582153622</c:v>
                </c:pt>
                <c:pt idx="225">
                  <c:v>-0.04184707596666282</c:v>
                </c:pt>
                <c:pt idx="226">
                  <c:v>-0.04933337039863128</c:v>
                </c:pt>
                <c:pt idx="227">
                  <c:v>-0.07350430619784287</c:v>
                </c:pt>
                <c:pt idx="228">
                  <c:v>-0.09046647629739923</c:v>
                </c:pt>
                <c:pt idx="229">
                  <c:v>-0.09046647629739923</c:v>
                </c:pt>
                <c:pt idx="230">
                  <c:v>-0.09046647629739923</c:v>
                </c:pt>
                <c:pt idx="231">
                  <c:v>-0.1339405669682755</c:v>
                </c:pt>
                <c:pt idx="232">
                  <c:v>-0.15213975801840096</c:v>
                </c:pt>
                <c:pt idx="233">
                  <c:v>-0.14100300241123898</c:v>
                </c:pt>
                <c:pt idx="234">
                  <c:v>-0.11361114983456289</c:v>
                </c:pt>
                <c:pt idx="235">
                  <c:v>-0.12604694687348272</c:v>
                </c:pt>
                <c:pt idx="236">
                  <c:v>-0.12604694687348272</c:v>
                </c:pt>
                <c:pt idx="237">
                  <c:v>-0.12604694687348272</c:v>
                </c:pt>
                <c:pt idx="238">
                  <c:v>-0.1270759998647324</c:v>
                </c:pt>
                <c:pt idx="239">
                  <c:v>-0.11789139110217517</c:v>
                </c:pt>
                <c:pt idx="240">
                  <c:v>-0.10013763225097949</c:v>
                </c:pt>
                <c:pt idx="241">
                  <c:v>-0.11898288310209204</c:v>
                </c:pt>
                <c:pt idx="242">
                  <c:v>-0.12970246075997938</c:v>
                </c:pt>
                <c:pt idx="243">
                  <c:v>-0.12970246075997938</c:v>
                </c:pt>
                <c:pt idx="244">
                  <c:v>-0.12970246075997938</c:v>
                </c:pt>
                <c:pt idx="245">
                  <c:v>-0.16575368930893986</c:v>
                </c:pt>
                <c:pt idx="246">
                  <c:v>-0.16566286867166247</c:v>
                </c:pt>
                <c:pt idx="247">
                  <c:v>-0.17265265424879428</c:v>
                </c:pt>
                <c:pt idx="248">
                  <c:v>-0.17906442937639355</c:v>
                </c:pt>
                <c:pt idx="249">
                  <c:v>-0.14769236017538612</c:v>
                </c:pt>
                <c:pt idx="250">
                  <c:v>-0.14769236017538612</c:v>
                </c:pt>
                <c:pt idx="251">
                  <c:v>-0.14769236017538612</c:v>
                </c:pt>
                <c:pt idx="252">
                  <c:v>-0.1570998359466831</c:v>
                </c:pt>
                <c:pt idx="253">
                  <c:v>-0.12247685835823874</c:v>
                </c:pt>
                <c:pt idx="254">
                  <c:v>-0.15203938964350716</c:v>
                </c:pt>
                <c:pt idx="255">
                  <c:v>-0.15189995178987514</c:v>
                </c:pt>
                <c:pt idx="256">
                  <c:v>-0.14801100872253292</c:v>
                </c:pt>
                <c:pt idx="257">
                  <c:v>-0.14801100872253292</c:v>
                </c:pt>
                <c:pt idx="258">
                  <c:v>-0.14801100872253292</c:v>
                </c:pt>
                <c:pt idx="259">
                  <c:v>-0.13315724473187784</c:v>
                </c:pt>
                <c:pt idx="260">
                  <c:v>-0.14072999465950164</c:v>
                </c:pt>
                <c:pt idx="261">
                  <c:v>-0.1325340787541993</c:v>
                </c:pt>
                <c:pt idx="262">
                  <c:v>-0.116001762936634</c:v>
                </c:pt>
                <c:pt idx="263">
                  <c:v>-0.08810167168955452</c:v>
                </c:pt>
                <c:pt idx="264">
                  <c:v>-0.08810167168955452</c:v>
                </c:pt>
                <c:pt idx="265">
                  <c:v>-0.08810167168955452</c:v>
                </c:pt>
                <c:pt idx="266">
                  <c:v>-0.0799551214305474</c:v>
                </c:pt>
                <c:pt idx="267">
                  <c:v>-0.08388374733223769</c:v>
                </c:pt>
                <c:pt idx="268">
                  <c:v>-0.09390550255582264</c:v>
                </c:pt>
                <c:pt idx="269">
                  <c:v>-0.07472254376522314</c:v>
                </c:pt>
                <c:pt idx="270">
                  <c:v>-0.09321591010652086</c:v>
                </c:pt>
                <c:pt idx="271">
                  <c:v>-0.09321591010652086</c:v>
                </c:pt>
                <c:pt idx="272">
                  <c:v>-0.09321591010652086</c:v>
                </c:pt>
                <c:pt idx="273">
                  <c:v>-0.09445565034198922</c:v>
                </c:pt>
                <c:pt idx="274">
                  <c:v>-0.09998828102322577</c:v>
                </c:pt>
                <c:pt idx="275">
                  <c:v>-0.10697979240270294</c:v>
                </c:pt>
                <c:pt idx="276">
                  <c:v>-0.12511929021684887</c:v>
                </c:pt>
                <c:pt idx="277">
                  <c:v>-0.14022541697631952</c:v>
                </c:pt>
                <c:pt idx="278">
                  <c:v>-0.14022541697631952</c:v>
                </c:pt>
                <c:pt idx="279">
                  <c:v>-0.14022541697631952</c:v>
                </c:pt>
                <c:pt idx="280">
                  <c:v>-0.173881190153226</c:v>
                </c:pt>
                <c:pt idx="281">
                  <c:v>-0.18340522378038238</c:v>
                </c:pt>
                <c:pt idx="282">
                  <c:v>-0.17131159623065062</c:v>
                </c:pt>
                <c:pt idx="283">
                  <c:v>-0.19842117550566718</c:v>
                </c:pt>
                <c:pt idx="284">
                  <c:v>-0.1930577708790795</c:v>
                </c:pt>
                <c:pt idx="285">
                  <c:v>-0.1930577708790795</c:v>
                </c:pt>
                <c:pt idx="286">
                  <c:v>-0.1930577708790795</c:v>
                </c:pt>
                <c:pt idx="287">
                  <c:v>-0.1848583128804674</c:v>
                </c:pt>
                <c:pt idx="288">
                  <c:v>-0.1728998341386675</c:v>
                </c:pt>
                <c:pt idx="289">
                  <c:v>-0.18211774469153408</c:v>
                </c:pt>
                <c:pt idx="290">
                  <c:v>-0.1784775755806126</c:v>
                </c:pt>
                <c:pt idx="291">
                  <c:v>-0.15157994470506864</c:v>
                </c:pt>
                <c:pt idx="292">
                  <c:v>-0.15157994470506864</c:v>
                </c:pt>
                <c:pt idx="293">
                  <c:v>-0.15157994470506864</c:v>
                </c:pt>
                <c:pt idx="294">
                  <c:v>-0.14711779509920453</c:v>
                </c:pt>
                <c:pt idx="295">
                  <c:v>-0.16170675641545929</c:v>
                </c:pt>
                <c:pt idx="296">
                  <c:v>-0.17221811994096814</c:v>
                </c:pt>
                <c:pt idx="297">
                  <c:v>-0.18618493610761033</c:v>
                </c:pt>
                <c:pt idx="298">
                  <c:v>-0.19938676291328716</c:v>
                </c:pt>
                <c:pt idx="299">
                  <c:v>-0.19938676291328716</c:v>
                </c:pt>
                <c:pt idx="300">
                  <c:v>-0.19938676291328716</c:v>
                </c:pt>
                <c:pt idx="301">
                  <c:v>-0.21224792801629033</c:v>
                </c:pt>
                <c:pt idx="302">
                  <c:v>-0.22218128526925907</c:v>
                </c:pt>
                <c:pt idx="303">
                  <c:v>-0.22015659540083854</c:v>
                </c:pt>
                <c:pt idx="304">
                  <c:v>-0.21097273733082977</c:v>
                </c:pt>
                <c:pt idx="305">
                  <c:v>-0.20739235152939428</c:v>
                </c:pt>
                <c:pt idx="306">
                  <c:v>-0.20739235152939428</c:v>
                </c:pt>
                <c:pt idx="307">
                  <c:v>-0.20739235152939428</c:v>
                </c:pt>
                <c:pt idx="308">
                  <c:v>-0.2292734689128897</c:v>
                </c:pt>
                <c:pt idx="309">
                  <c:v>-0.228283925709601</c:v>
                </c:pt>
                <c:pt idx="310">
                  <c:v>-0.22964882315146262</c:v>
                </c:pt>
                <c:pt idx="311">
                  <c:v>-0.2347043449415811</c:v>
                </c:pt>
                <c:pt idx="312">
                  <c:v>-0.2222875726712219</c:v>
                </c:pt>
                <c:pt idx="313">
                  <c:v>-0.2222875726712219</c:v>
                </c:pt>
                <c:pt idx="314">
                  <c:v>-0.2222875726712219</c:v>
                </c:pt>
                <c:pt idx="315">
                  <c:v>-0.2157152103018386</c:v>
                </c:pt>
                <c:pt idx="316">
                  <c:v>-0.19820686464201598</c:v>
                </c:pt>
                <c:pt idx="317">
                  <c:v>-0.1889360635359787</c:v>
                </c:pt>
                <c:pt idx="318">
                  <c:v>-0.1861657917439542</c:v>
                </c:pt>
                <c:pt idx="319">
                  <c:v>-0.19004506018920375</c:v>
                </c:pt>
                <c:pt idx="320">
                  <c:v>-0.19004506018920375</c:v>
                </c:pt>
                <c:pt idx="321">
                  <c:v>-0.19004506018920375</c:v>
                </c:pt>
                <c:pt idx="322">
                  <c:v>-0.19743687211722583</c:v>
                </c:pt>
                <c:pt idx="323">
                  <c:v>-0.21154172812169636</c:v>
                </c:pt>
                <c:pt idx="324">
                  <c:v>-0.17629936126404477</c:v>
                </c:pt>
                <c:pt idx="325">
                  <c:v>-0.1616504607885122</c:v>
                </c:pt>
                <c:pt idx="326">
                  <c:v>-0.17723122598376306</c:v>
                </c:pt>
                <c:pt idx="327">
                  <c:v>-0.17723122598376306</c:v>
                </c:pt>
                <c:pt idx="328">
                  <c:v>-0.17723122598376306</c:v>
                </c:pt>
                <c:pt idx="329">
                  <c:v>-0.17195076450375013</c:v>
                </c:pt>
                <c:pt idx="330">
                  <c:v>-0.17678648063272195</c:v>
                </c:pt>
                <c:pt idx="331">
                  <c:v>-0.18693075634469358</c:v>
                </c:pt>
                <c:pt idx="332">
                  <c:v>-0.1722701716109012</c:v>
                </c:pt>
                <c:pt idx="333">
                  <c:v>-0.17172760797556452</c:v>
                </c:pt>
                <c:pt idx="334">
                  <c:v>-0.17172760797556452</c:v>
                </c:pt>
                <c:pt idx="335">
                  <c:v>-0.17172760797556452</c:v>
                </c:pt>
                <c:pt idx="336">
                  <c:v>-0.16684551017483773</c:v>
                </c:pt>
                <c:pt idx="337">
                  <c:v>-0.1848200720239065</c:v>
                </c:pt>
                <c:pt idx="338">
                  <c:v>-0.15724276486712885</c:v>
                </c:pt>
                <c:pt idx="339">
                  <c:v>-0.15741285256723703</c:v>
                </c:pt>
                <c:pt idx="340">
                  <c:v>-0.1455552499590933</c:v>
                </c:pt>
                <c:pt idx="341">
                  <c:v>-0.1455552499590933</c:v>
                </c:pt>
                <c:pt idx="342">
                  <c:v>-0.1455552499590933</c:v>
                </c:pt>
                <c:pt idx="343">
                  <c:v>-0.1455183177704782</c:v>
                </c:pt>
                <c:pt idx="344">
                  <c:v>-0.14243362908667712</c:v>
                </c:pt>
                <c:pt idx="345">
                  <c:v>-0.15281556853019596</c:v>
                </c:pt>
                <c:pt idx="346">
                  <c:v>-0.15201217679100132</c:v>
                </c:pt>
                <c:pt idx="347">
                  <c:v>-0.1625223788164385</c:v>
                </c:pt>
                <c:pt idx="348">
                  <c:v>-0.1625223788164385</c:v>
                </c:pt>
                <c:pt idx="349">
                  <c:v>-0.1625223788164385</c:v>
                </c:pt>
                <c:pt idx="350">
                  <c:v>-0.17515731610771135</c:v>
                </c:pt>
                <c:pt idx="351">
                  <c:v>-0.17741086161929598</c:v>
                </c:pt>
                <c:pt idx="352">
                  <c:v>-0.1755570337210327</c:v>
                </c:pt>
                <c:pt idx="353">
                  <c:v>-0.1633764633521836</c:v>
                </c:pt>
                <c:pt idx="354">
                  <c:v>-0.18388339980044088</c:v>
                </c:pt>
                <c:pt idx="355">
                  <c:v>-0.18388339980044088</c:v>
                </c:pt>
                <c:pt idx="356">
                  <c:v>-0.18388339980044088</c:v>
                </c:pt>
                <c:pt idx="357">
                  <c:v>-0.18351206153632627</c:v>
                </c:pt>
                <c:pt idx="358">
                  <c:v>-0.20050988564457173</c:v>
                </c:pt>
                <c:pt idx="359">
                  <c:v>-0.211162461913175</c:v>
                </c:pt>
                <c:pt idx="360">
                  <c:v>-0.2342713736497003</c:v>
                </c:pt>
                <c:pt idx="361">
                  <c:v>-0.26031017501023335</c:v>
                </c:pt>
                <c:pt idx="362">
                  <c:v>-0.26031017501023335</c:v>
                </c:pt>
                <c:pt idx="363">
                  <c:v>-0.26031017501023335</c:v>
                </c:pt>
                <c:pt idx="364">
                  <c:v>-0.2643918907969284</c:v>
                </c:pt>
                <c:pt idx="365">
                  <c:v>-0.2648073088019479</c:v>
                </c:pt>
                <c:pt idx="366">
                  <c:v>-0.25516729896048906</c:v>
                </c:pt>
                <c:pt idx="367">
                  <c:v>-0.25007766009367827</c:v>
                </c:pt>
                <c:pt idx="368">
                  <c:v>-0.23508885075966846</c:v>
                </c:pt>
                <c:pt idx="369">
                  <c:v>-0.23508885075966846</c:v>
                </c:pt>
                <c:pt idx="370">
                  <c:v>-0.23508885075966846</c:v>
                </c:pt>
                <c:pt idx="371">
                  <c:v>-0.22999032909306838</c:v>
                </c:pt>
                <c:pt idx="372">
                  <c:v>-0.2516763929547631</c:v>
                </c:pt>
                <c:pt idx="373">
                  <c:v>-0.2508418194959202</c:v>
                </c:pt>
                <c:pt idx="374">
                  <c:v>-0.26170238272072077</c:v>
                </c:pt>
                <c:pt idx="375">
                  <c:v>-0.2685457150409155</c:v>
                </c:pt>
                <c:pt idx="376">
                  <c:v>-0.2685457150409155</c:v>
                </c:pt>
                <c:pt idx="377">
                  <c:v>-0.2685457150409155</c:v>
                </c:pt>
                <c:pt idx="378">
                  <c:v>-0.27901480138628687</c:v>
                </c:pt>
                <c:pt idx="379">
                  <c:v>-0.26720526971888936</c:v>
                </c:pt>
                <c:pt idx="380">
                  <c:v>-0.2687858473576167</c:v>
                </c:pt>
                <c:pt idx="381">
                  <c:v>-0.2856188262180964</c:v>
                </c:pt>
                <c:pt idx="382">
                  <c:v>-0.3007545220295281</c:v>
                </c:pt>
                <c:pt idx="383">
                  <c:v>-0.3007545220295281</c:v>
                </c:pt>
                <c:pt idx="384">
                  <c:v>-0.3007545220295281</c:v>
                </c:pt>
                <c:pt idx="385">
                  <c:v>-0.28437707932037093</c:v>
                </c:pt>
                <c:pt idx="386">
                  <c:v>-0.30151511321980373</c:v>
                </c:pt>
                <c:pt idx="387">
                  <c:v>-0.2939065591840173</c:v>
                </c:pt>
                <c:pt idx="388">
                  <c:v>-0.30948657525840273</c:v>
                </c:pt>
                <c:pt idx="389">
                  <c:v>-0.3137144899813604</c:v>
                </c:pt>
                <c:pt idx="390">
                  <c:v>-0.3137144899813604</c:v>
                </c:pt>
                <c:pt idx="391">
                  <c:v>-0.3137144899813604</c:v>
                </c:pt>
                <c:pt idx="392">
                  <c:v>-0.29897857413484497</c:v>
                </c:pt>
                <c:pt idx="393">
                  <c:v>-0.28095004178002925</c:v>
                </c:pt>
                <c:pt idx="394">
                  <c:v>-0.2821284204719311</c:v>
                </c:pt>
                <c:pt idx="395">
                  <c:v>-0.2835284769333243</c:v>
                </c:pt>
                <c:pt idx="396">
                  <c:v>-0.3051780084116027</c:v>
                </c:pt>
                <c:pt idx="397">
                  <c:v>-0.3051780084116027</c:v>
                </c:pt>
                <c:pt idx="398">
                  <c:v>-0.3051780084116027</c:v>
                </c:pt>
                <c:pt idx="399">
                  <c:v>-0.30431700162304176</c:v>
                </c:pt>
                <c:pt idx="400">
                  <c:v>-0.3171319531679042</c:v>
                </c:pt>
                <c:pt idx="401">
                  <c:v>-0.3200663005401416</c:v>
                </c:pt>
                <c:pt idx="402">
                  <c:v>-0.3088457717937405</c:v>
                </c:pt>
                <c:pt idx="403">
                  <c:v>-0.3175436893865863</c:v>
                </c:pt>
                <c:pt idx="404">
                  <c:v>-0.3175436893865863</c:v>
                </c:pt>
                <c:pt idx="405">
                  <c:v>-0.3175436893865863</c:v>
                </c:pt>
                <c:pt idx="406">
                  <c:v>-0.30047198700524613</c:v>
                </c:pt>
                <c:pt idx="407">
                  <c:v>-0.29398876869000456</c:v>
                </c:pt>
                <c:pt idx="408">
                  <c:v>-0.3021251739286386</c:v>
                </c:pt>
                <c:pt idx="409">
                  <c:v>-0.30402760013216557</c:v>
                </c:pt>
                <c:pt idx="410">
                  <c:v>-0.28998487586608024</c:v>
                </c:pt>
                <c:pt idx="411">
                  <c:v>-0.28998487586608024</c:v>
                </c:pt>
                <c:pt idx="412">
                  <c:v>-0.28998487586608024</c:v>
                </c:pt>
                <c:pt idx="413">
                  <c:v>-0.2996516079508055</c:v>
                </c:pt>
                <c:pt idx="414">
                  <c:v>-0.2840524157361475</c:v>
                </c:pt>
                <c:pt idx="415">
                  <c:v>-0.27566841639563466</c:v>
                </c:pt>
                <c:pt idx="416">
                  <c:v>-0.2837500855516366</c:v>
                </c:pt>
                <c:pt idx="417">
                  <c:v>-0.2805701042404912</c:v>
                </c:pt>
                <c:pt idx="418">
                  <c:v>-0.2805701042404912</c:v>
                </c:pt>
                <c:pt idx="419">
                  <c:v>-0.2805701042404912</c:v>
                </c:pt>
                <c:pt idx="420">
                  <c:v>-0.2851851299298124</c:v>
                </c:pt>
                <c:pt idx="421">
                  <c:v>-0.2723549585069992</c:v>
                </c:pt>
                <c:pt idx="422">
                  <c:v>-0.292212449349606</c:v>
                </c:pt>
                <c:pt idx="423">
                  <c:v>-0.29982267109145644</c:v>
                </c:pt>
                <c:pt idx="424">
                  <c:v>-0.27814848382494983</c:v>
                </c:pt>
                <c:pt idx="425">
                  <c:v>-0.27814848382494983</c:v>
                </c:pt>
                <c:pt idx="426">
                  <c:v>-0.27814848382494983</c:v>
                </c:pt>
                <c:pt idx="427">
                  <c:v>-0.2715319865771175</c:v>
                </c:pt>
                <c:pt idx="428">
                  <c:v>-0.2504241861777152</c:v>
                </c:pt>
                <c:pt idx="429">
                  <c:v>-0.2625608534709135</c:v>
                </c:pt>
                <c:pt idx="430">
                  <c:v>-0.22098562872702476</c:v>
                </c:pt>
                <c:pt idx="431">
                  <c:v>-0.20100354264329656</c:v>
                </c:pt>
                <c:pt idx="432">
                  <c:v>-0.20100354264329656</c:v>
                </c:pt>
                <c:pt idx="433">
                  <c:v>-0.20100354264329656</c:v>
                </c:pt>
                <c:pt idx="434">
                  <c:v>-0.2105427477190105</c:v>
                </c:pt>
                <c:pt idx="435">
                  <c:v>-0.1929477706312338</c:v>
                </c:pt>
                <c:pt idx="436">
                  <c:v>-0.20379713324012494</c:v>
                </c:pt>
                <c:pt idx="437">
                  <c:v>-0.20820749321106746</c:v>
                </c:pt>
                <c:pt idx="438">
                  <c:v>-0.2056727528008373</c:v>
                </c:pt>
                <c:pt idx="439">
                  <c:v>-0.2056727528008373</c:v>
                </c:pt>
                <c:pt idx="440">
                  <c:v>-0.2056727528008373</c:v>
                </c:pt>
                <c:pt idx="441">
                  <c:v>-0.2114843999761995</c:v>
                </c:pt>
                <c:pt idx="442">
                  <c:v>-0.20156910206130818</c:v>
                </c:pt>
                <c:pt idx="443">
                  <c:v>-0.1923649682809364</c:v>
                </c:pt>
                <c:pt idx="444">
                  <c:v>-0.18845902889126764</c:v>
                </c:pt>
                <c:pt idx="445">
                  <c:v>-0.18958704567812434</c:v>
                </c:pt>
                <c:pt idx="446">
                  <c:v>-0.18958704567812434</c:v>
                </c:pt>
                <c:pt idx="447">
                  <c:v>-0.18958704567812434</c:v>
                </c:pt>
                <c:pt idx="448">
                  <c:v>-0.2011883559393184</c:v>
                </c:pt>
                <c:pt idx="449">
                  <c:v>-0.19292694883640782</c:v>
                </c:pt>
                <c:pt idx="450">
                  <c:v>-0.16887895830163813</c:v>
                </c:pt>
                <c:pt idx="451">
                  <c:v>-0.15902041263509892</c:v>
                </c:pt>
                <c:pt idx="452">
                  <c:v>-0.15603751206549754</c:v>
                </c:pt>
                <c:pt idx="453">
                  <c:v>-0.15603751206549754</c:v>
                </c:pt>
                <c:pt idx="454">
                  <c:v>-0.15603751206549754</c:v>
                </c:pt>
                <c:pt idx="455">
                  <c:v>-0.1584270913735698</c:v>
                </c:pt>
                <c:pt idx="456">
                  <c:v>-0.16987030016717175</c:v>
                </c:pt>
                <c:pt idx="457">
                  <c:v>-0.1707841294759087</c:v>
                </c:pt>
                <c:pt idx="458">
                  <c:v>-0.1559516558934918</c:v>
                </c:pt>
                <c:pt idx="459">
                  <c:v>-0.15287736329587953</c:v>
                </c:pt>
                <c:pt idx="460">
                  <c:v>-0.15287736329587953</c:v>
                </c:pt>
                <c:pt idx="461">
                  <c:v>-0.15287736329587953</c:v>
                </c:pt>
                <c:pt idx="462">
                  <c:v>-0.14992441036945758</c:v>
                </c:pt>
                <c:pt idx="463">
                  <c:v>-0.13997978741183137</c:v>
                </c:pt>
                <c:pt idx="464">
                  <c:v>-0.13843790196079087</c:v>
                </c:pt>
                <c:pt idx="465">
                  <c:v>-0.15945314850735615</c:v>
                </c:pt>
                <c:pt idx="466">
                  <c:v>-0.1620626952570462</c:v>
                </c:pt>
                <c:pt idx="467">
                  <c:v>-0.1620626952570462</c:v>
                </c:pt>
                <c:pt idx="468">
                  <c:v>-0.1620626952570462</c:v>
                </c:pt>
                <c:pt idx="469">
                  <c:v>-0.15854023151920493</c:v>
                </c:pt>
                <c:pt idx="470">
                  <c:v>-0.1647238826580797</c:v>
                </c:pt>
                <c:pt idx="471">
                  <c:v>-0.149277413509054</c:v>
                </c:pt>
                <c:pt idx="472">
                  <c:v>-0.15655351351216906</c:v>
                </c:pt>
                <c:pt idx="473">
                  <c:v>-0.15224969589880166</c:v>
                </c:pt>
                <c:pt idx="474">
                  <c:v>-0.15224969589880166</c:v>
                </c:pt>
                <c:pt idx="475">
                  <c:v>-0.15224969589880166</c:v>
                </c:pt>
                <c:pt idx="476">
                  <c:v>-0.14834353266470413</c:v>
                </c:pt>
                <c:pt idx="477">
                  <c:v>-0.1551174681161004</c:v>
                </c:pt>
                <c:pt idx="478">
                  <c:v>-0.15766206471161814</c:v>
                </c:pt>
                <c:pt idx="479">
                  <c:v>-0.1422647238928153</c:v>
                </c:pt>
                <c:pt idx="480">
                  <c:v>-0.14160044263904492</c:v>
                </c:pt>
                <c:pt idx="481">
                  <c:v>-0.14160044263904492</c:v>
                </c:pt>
                <c:pt idx="482">
                  <c:v>-0.14160044263904492</c:v>
                </c:pt>
                <c:pt idx="483">
                  <c:v>-0.1372399268191543</c:v>
                </c:pt>
                <c:pt idx="484">
                  <c:v>-0.1412076680130515</c:v>
                </c:pt>
                <c:pt idx="485">
                  <c:v>-0.12754827009534897</c:v>
                </c:pt>
                <c:pt idx="486">
                  <c:v>-0.12786091899979357</c:v>
                </c:pt>
                <c:pt idx="487">
                  <c:v>-0.10870134600668113</c:v>
                </c:pt>
                <c:pt idx="488">
                  <c:v>-0.10870134600668113</c:v>
                </c:pt>
                <c:pt idx="489">
                  <c:v>-0.10870134600668113</c:v>
                </c:pt>
                <c:pt idx="490">
                  <c:v>-0.09476708517435517</c:v>
                </c:pt>
                <c:pt idx="491">
                  <c:v>-0.08853710856523134</c:v>
                </c:pt>
                <c:pt idx="492">
                  <c:v>-0.07635385464495592</c:v>
                </c:pt>
                <c:pt idx="493">
                  <c:v>-0.06636861562947671</c:v>
                </c:pt>
                <c:pt idx="494">
                  <c:v>-0.06403743143650231</c:v>
                </c:pt>
                <c:pt idx="495">
                  <c:v>-0.06403743143650231</c:v>
                </c:pt>
                <c:pt idx="496">
                  <c:v>-0.06403743143650231</c:v>
                </c:pt>
                <c:pt idx="497">
                  <c:v>-0.06932866022093498</c:v>
                </c:pt>
                <c:pt idx="498">
                  <c:v>-0.06255073583976789</c:v>
                </c:pt>
                <c:pt idx="499">
                  <c:v>-0.062385801333247004</c:v>
                </c:pt>
                <c:pt idx="500">
                  <c:v>-0.06815985612645636</c:v>
                </c:pt>
                <c:pt idx="501">
                  <c:v>-0.040707242284113265</c:v>
                </c:pt>
                <c:pt idx="502">
                  <c:v>-0.040707242284113265</c:v>
                </c:pt>
                <c:pt idx="503">
                  <c:v>-0.040707242284113265</c:v>
                </c:pt>
                <c:pt idx="504">
                  <c:v>-0.032422299709321534</c:v>
                </c:pt>
                <c:pt idx="505">
                  <c:v>-0.026787845169802704</c:v>
                </c:pt>
                <c:pt idx="506">
                  <c:v>-0.02539876582298095</c:v>
                </c:pt>
                <c:pt idx="507">
                  <c:v>-0.009832551197613726</c:v>
                </c:pt>
                <c:pt idx="508">
                  <c:v>0.0009749322806571481</c:v>
                </c:pt>
                <c:pt idx="509">
                  <c:v>0.0009749322806571481</c:v>
                </c:pt>
                <c:pt idx="510">
                  <c:v>0.0009749322806571481</c:v>
                </c:pt>
                <c:pt idx="511">
                  <c:v>-0.012096448978106245</c:v>
                </c:pt>
                <c:pt idx="512">
                  <c:v>-0.0004367231446046338</c:v>
                </c:pt>
                <c:pt idx="513">
                  <c:v>0.017007620569229553</c:v>
                </c:pt>
                <c:pt idx="514">
                  <c:v>0.039626429705581945</c:v>
                </c:pt>
                <c:pt idx="515">
                  <c:v>0.02568424256041557</c:v>
                </c:pt>
                <c:pt idx="516">
                  <c:v>0.02568424256041557</c:v>
                </c:pt>
                <c:pt idx="517">
                  <c:v>0.02568424256041557</c:v>
                </c:pt>
                <c:pt idx="518">
                  <c:v>0.01844154475623827</c:v>
                </c:pt>
                <c:pt idx="519">
                  <c:v>0.020927135837764288</c:v>
                </c:pt>
                <c:pt idx="520">
                  <c:v>0.009725552117896497</c:v>
                </c:pt>
                <c:pt idx="521">
                  <c:v>0.013531745778530446</c:v>
                </c:pt>
                <c:pt idx="522">
                  <c:v>0.0023007207916689865</c:v>
                </c:pt>
                <c:pt idx="523">
                  <c:v>0.0023007207916689865</c:v>
                </c:pt>
                <c:pt idx="524">
                  <c:v>0.0023007207916689865</c:v>
                </c:pt>
                <c:pt idx="525">
                  <c:v>0.01224449072536471</c:v>
                </c:pt>
                <c:pt idx="526">
                  <c:v>0.020738445406593753</c:v>
                </c:pt>
                <c:pt idx="527">
                  <c:v>0.02341980594377313</c:v>
                </c:pt>
                <c:pt idx="528">
                  <c:v>0.01640408836318663</c:v>
                </c:pt>
                <c:pt idx="529">
                  <c:v>0.006373467705350855</c:v>
                </c:pt>
                <c:pt idx="530">
                  <c:v>0.006373467705350855</c:v>
                </c:pt>
                <c:pt idx="531">
                  <c:v>0.006373467705350855</c:v>
                </c:pt>
                <c:pt idx="532">
                  <c:v>0.005073857646409996</c:v>
                </c:pt>
                <c:pt idx="533">
                  <c:v>-0.002933049180094738</c:v>
                </c:pt>
                <c:pt idx="534">
                  <c:v>-0.006808461599748128</c:v>
                </c:pt>
                <c:pt idx="535">
                  <c:v>0.009164722576498141</c:v>
                </c:pt>
                <c:pt idx="536">
                  <c:v>-0.007385103440669116</c:v>
                </c:pt>
                <c:pt idx="537">
                  <c:v>-0.007385103440669116</c:v>
                </c:pt>
                <c:pt idx="538">
                  <c:v>-0.007385103440669116</c:v>
                </c:pt>
                <c:pt idx="539">
                  <c:v>0.0023274118215643735</c:v>
                </c:pt>
                <c:pt idx="540">
                  <c:v>0.0067162680378192174</c:v>
                </c:pt>
                <c:pt idx="541">
                  <c:v>0.014646476728880309</c:v>
                </c:pt>
                <c:pt idx="542">
                  <c:v>0.018433883228249348</c:v>
                </c:pt>
                <c:pt idx="543">
                  <c:v>0.04268775555121174</c:v>
                </c:pt>
                <c:pt idx="544">
                  <c:v>0.04268775555121174</c:v>
                </c:pt>
                <c:pt idx="545">
                  <c:v>0.04268775555121174</c:v>
                </c:pt>
                <c:pt idx="546">
                  <c:v>0.040711653225282696</c:v>
                </c:pt>
                <c:pt idx="547">
                  <c:v>0.029273975643220984</c:v>
                </c:pt>
                <c:pt idx="548">
                  <c:v>0.032202816042337545</c:v>
                </c:pt>
                <c:pt idx="549">
                  <c:v>0.014470719080338368</c:v>
                </c:pt>
                <c:pt idx="550">
                  <c:v>-0.001148979582143883</c:v>
                </c:pt>
                <c:pt idx="551">
                  <c:v>-0.001148979582143883</c:v>
                </c:pt>
                <c:pt idx="552">
                  <c:v>-0.001148979582143883</c:v>
                </c:pt>
                <c:pt idx="553">
                  <c:v>-0.003982549910280797</c:v>
                </c:pt>
                <c:pt idx="554">
                  <c:v>0.024062071834275445</c:v>
                </c:pt>
                <c:pt idx="555">
                  <c:v>0.003580051997812417</c:v>
                </c:pt>
                <c:pt idx="556">
                  <c:v>0.028236340109607072</c:v>
                </c:pt>
                <c:pt idx="557">
                  <c:v>0.021131176893685266</c:v>
                </c:pt>
                <c:pt idx="558">
                  <c:v>0.021131176893685266</c:v>
                </c:pt>
                <c:pt idx="559">
                  <c:v>0.021131176893685266</c:v>
                </c:pt>
                <c:pt idx="560">
                  <c:v>0.01280635713329037</c:v>
                </c:pt>
                <c:pt idx="561">
                  <c:v>0.05162185549069287</c:v>
                </c:pt>
                <c:pt idx="562">
                  <c:v>0.05288703028180164</c:v>
                </c:pt>
                <c:pt idx="563">
                  <c:v>0.06975599615936079</c:v>
                </c:pt>
                <c:pt idx="564">
                  <c:v>0.0748781153573872</c:v>
                </c:pt>
                <c:pt idx="565">
                  <c:v>0.0748781153573872</c:v>
                </c:pt>
                <c:pt idx="566">
                  <c:v>0.0748781153573872</c:v>
                </c:pt>
                <c:pt idx="567">
                  <c:v>0.0767025385416451</c:v>
                </c:pt>
                <c:pt idx="568">
                  <c:v>0.0846049037187322</c:v>
                </c:pt>
                <c:pt idx="569">
                  <c:v>0.09564839544966386</c:v>
                </c:pt>
                <c:pt idx="570">
                  <c:v>0.108860396456129</c:v>
                </c:pt>
                <c:pt idx="571">
                  <c:v>0.1260826161775621</c:v>
                </c:pt>
                <c:pt idx="572">
                  <c:v>0.1260826161775621</c:v>
                </c:pt>
                <c:pt idx="573">
                  <c:v>0.1260826161775621</c:v>
                </c:pt>
                <c:pt idx="574">
                  <c:v>0.11586956123160186</c:v>
                </c:pt>
                <c:pt idx="575">
                  <c:v>0.07943926233089327</c:v>
                </c:pt>
                <c:pt idx="576">
                  <c:v>0.05031714330528736</c:v>
                </c:pt>
                <c:pt idx="577">
                  <c:v>0.027890961611268805</c:v>
                </c:pt>
                <c:pt idx="578">
                  <c:v>0.020758058952779157</c:v>
                </c:pt>
                <c:pt idx="579">
                  <c:v>0.020758058952779157</c:v>
                </c:pt>
                <c:pt idx="580">
                  <c:v>0.020758058952779157</c:v>
                </c:pt>
                <c:pt idx="581">
                  <c:v>0.01459531971392436</c:v>
                </c:pt>
                <c:pt idx="582">
                  <c:v>0.02981974027026979</c:v>
                </c:pt>
                <c:pt idx="583">
                  <c:v>-0.0021022350022062986</c:v>
                </c:pt>
                <c:pt idx="584">
                  <c:v>-0.018302351386821347</c:v>
                </c:pt>
                <c:pt idx="585">
                  <c:v>-0.019925116508457963</c:v>
                </c:pt>
                <c:pt idx="586">
                  <c:v>-0.019925116508457963</c:v>
                </c:pt>
                <c:pt idx="587">
                  <c:v>-0.019925116508457963</c:v>
                </c:pt>
                <c:pt idx="588">
                  <c:v>-0.039222645098356934</c:v>
                </c:pt>
                <c:pt idx="589">
                  <c:v>-0.06418374540958027</c:v>
                </c:pt>
                <c:pt idx="590">
                  <c:v>-0.0682124921670163</c:v>
                </c:pt>
                <c:pt idx="591">
                  <c:v>-0.09298345287288945</c:v>
                </c:pt>
                <c:pt idx="592">
                  <c:v>-0.10712391028524693</c:v>
                </c:pt>
                <c:pt idx="593">
                  <c:v>-0.10712391028524693</c:v>
                </c:pt>
                <c:pt idx="594">
                  <c:v>-0.10712391028524693</c:v>
                </c:pt>
                <c:pt idx="595">
                  <c:v>-0.09785201101554786</c:v>
                </c:pt>
                <c:pt idx="596">
                  <c:v>-0.11602745499132339</c:v>
                </c:pt>
                <c:pt idx="597">
                  <c:v>-0.10408348089549624</c:v>
                </c:pt>
                <c:pt idx="598">
                  <c:v>-0.0846219732324549</c:v>
                </c:pt>
                <c:pt idx="599">
                  <c:v>-0.07660711445636958</c:v>
                </c:pt>
                <c:pt idx="600">
                  <c:v>-0.07660711445636958</c:v>
                </c:pt>
                <c:pt idx="601">
                  <c:v>-0.07660711445636958</c:v>
                </c:pt>
                <c:pt idx="602">
                  <c:v>-0.08605112879641652</c:v>
                </c:pt>
                <c:pt idx="603">
                  <c:v>-0.08515671705725592</c:v>
                </c:pt>
                <c:pt idx="604">
                  <c:v>-0.08686500534516828</c:v>
                </c:pt>
                <c:pt idx="605">
                  <c:v>-0.08759703713535338</c:v>
                </c:pt>
                <c:pt idx="606">
                  <c:v>-0.06257226459077159</c:v>
                </c:pt>
                <c:pt idx="607">
                  <c:v>-0.06257226459077159</c:v>
                </c:pt>
                <c:pt idx="608">
                  <c:v>-0.06257226459077159</c:v>
                </c:pt>
                <c:pt idx="609">
                  <c:v>-0.05624952387898574</c:v>
                </c:pt>
                <c:pt idx="610">
                  <c:v>-0.05812604044532632</c:v>
                </c:pt>
                <c:pt idx="611">
                  <c:v>-0.04861538797512743</c:v>
                </c:pt>
                <c:pt idx="612">
                  <c:v>-0.05011789139650502</c:v>
                </c:pt>
                <c:pt idx="613">
                  <c:v>-0.048919114432040334</c:v>
                </c:pt>
                <c:pt idx="614">
                  <c:v>-0.048919114432040334</c:v>
                </c:pt>
                <c:pt idx="615">
                  <c:v>-0.048919114432040334</c:v>
                </c:pt>
                <c:pt idx="616">
                  <c:v>-0.03898120889832479</c:v>
                </c:pt>
                <c:pt idx="617">
                  <c:v>-0.019018866643820798</c:v>
                </c:pt>
                <c:pt idx="618">
                  <c:v>-0.012520477051403023</c:v>
                </c:pt>
                <c:pt idx="619">
                  <c:v>-0.010403449141084264</c:v>
                </c:pt>
                <c:pt idx="620">
                  <c:v>-0.01011479309075336</c:v>
                </c:pt>
                <c:pt idx="621">
                  <c:v>-0.01011479309075336</c:v>
                </c:pt>
                <c:pt idx="622">
                  <c:v>-0.01011479309075336</c:v>
                </c:pt>
                <c:pt idx="623">
                  <c:v>-2.9092624341697793e-05</c:v>
                </c:pt>
                <c:pt idx="624">
                  <c:v>-0.008856244476383002</c:v>
                </c:pt>
                <c:pt idx="625">
                  <c:v>-0.005542576147396172</c:v>
                </c:pt>
                <c:pt idx="626">
                  <c:v>0.017012752655604757</c:v>
                </c:pt>
                <c:pt idx="627">
                  <c:v>0.040624915087871916</c:v>
                </c:pt>
                <c:pt idx="628">
                  <c:v>0.040624915087871916</c:v>
                </c:pt>
                <c:pt idx="629">
                  <c:v>0.040624915087871916</c:v>
                </c:pt>
                <c:pt idx="630">
                  <c:v>0.037059093745110516</c:v>
                </c:pt>
                <c:pt idx="631">
                  <c:v>0.04015319174706944</c:v>
                </c:pt>
                <c:pt idx="632">
                  <c:v>0.02530637993570939</c:v>
                </c:pt>
                <c:pt idx="633">
                  <c:v>0.04934711011720894</c:v>
                </c:pt>
                <c:pt idx="634">
                  <c:v>0.06501559316800454</c:v>
                </c:pt>
                <c:pt idx="635">
                  <c:v>0.06501559316800454</c:v>
                </c:pt>
                <c:pt idx="636">
                  <c:v>0.06501559316800454</c:v>
                </c:pt>
                <c:pt idx="637">
                  <c:v>0.07831378204934492</c:v>
                </c:pt>
                <c:pt idx="638">
                  <c:v>0.08006074843656652</c:v>
                </c:pt>
                <c:pt idx="639">
                  <c:v>0.08672250266244608</c:v>
                </c:pt>
                <c:pt idx="640">
                  <c:v>0.0964931606072772</c:v>
                </c:pt>
                <c:pt idx="641">
                  <c:v>0.1038500140732721</c:v>
                </c:pt>
                <c:pt idx="642">
                  <c:v>0.1038500140732721</c:v>
                </c:pt>
                <c:pt idx="643">
                  <c:v>0.1038500140732721</c:v>
                </c:pt>
                <c:pt idx="644">
                  <c:v>0.11238608660826488</c:v>
                </c:pt>
                <c:pt idx="645">
                  <c:v>0.10717824027753031</c:v>
                </c:pt>
                <c:pt idx="646">
                  <c:v>0.07014943349173675</c:v>
                </c:pt>
                <c:pt idx="647">
                  <c:v>0.08459963589524877</c:v>
                </c:pt>
                <c:pt idx="648">
                  <c:v>0.10151082837535053</c:v>
                </c:pt>
                <c:pt idx="649">
                  <c:v>0.10151082837535053</c:v>
                </c:pt>
                <c:pt idx="650">
                  <c:v>0.10151082837535053</c:v>
                </c:pt>
                <c:pt idx="651">
                  <c:v>0.0957116764184387</c:v>
                </c:pt>
                <c:pt idx="652">
                  <c:v>0.09614821380086602</c:v>
                </c:pt>
                <c:pt idx="653">
                  <c:v>-0.019568317759601994</c:v>
                </c:pt>
                <c:pt idx="654">
                  <c:v>-0.02084668519625732</c:v>
                </c:pt>
                <c:pt idx="655">
                  <c:v>-0.015877702599200072</c:v>
                </c:pt>
                <c:pt idx="656">
                  <c:v>-0.015877702599200072</c:v>
                </c:pt>
                <c:pt idx="657">
                  <c:v>-0.015877702599200072</c:v>
                </c:pt>
                <c:pt idx="658">
                  <c:v>-0.06411912475753112</c:v>
                </c:pt>
                <c:pt idx="659">
                  <c:v>-0.0481499246695033</c:v>
                </c:pt>
                <c:pt idx="660">
                  <c:v>-0.04234368578410608</c:v>
                </c:pt>
                <c:pt idx="661">
                  <c:v>-0.04224548069835532</c:v>
                </c:pt>
                <c:pt idx="662">
                  <c:v>-0.0193780058995624</c:v>
                </c:pt>
                <c:pt idx="663">
                  <c:v>-0.0193780058995624</c:v>
                </c:pt>
                <c:pt idx="664">
                  <c:v>-0.0193780058995624</c:v>
                </c:pt>
                <c:pt idx="665">
                  <c:v>-0.004462327660363585</c:v>
                </c:pt>
                <c:pt idx="666">
                  <c:v>0.010010653702980932</c:v>
                </c:pt>
                <c:pt idx="667">
                  <c:v>0.006198687637722244</c:v>
                </c:pt>
                <c:pt idx="668">
                  <c:v>-0.01890946805000404</c:v>
                </c:pt>
                <c:pt idx="669">
                  <c:v>0.027873106079332244</c:v>
                </c:pt>
                <c:pt idx="670">
                  <c:v>0.027873106079332244</c:v>
                </c:pt>
                <c:pt idx="671">
                  <c:v>0.027873106079332244</c:v>
                </c:pt>
                <c:pt idx="672">
                  <c:v>0.006481636328558471</c:v>
                </c:pt>
                <c:pt idx="673">
                  <c:v>0.03323521090365933</c:v>
                </c:pt>
                <c:pt idx="674">
                  <c:v>0.06141219095001271</c:v>
                </c:pt>
                <c:pt idx="675">
                  <c:v>0.07581264984565461</c:v>
                </c:pt>
                <c:pt idx="676">
                  <c:v>0.08378854457069607</c:v>
                </c:pt>
                <c:pt idx="677">
                  <c:v>0.08378854457069607</c:v>
                </c:pt>
                <c:pt idx="678">
                  <c:v>0.08378854457069607</c:v>
                </c:pt>
                <c:pt idx="679">
                  <c:v>0.09505636422534591</c:v>
                </c:pt>
                <c:pt idx="680">
                  <c:v>0.11689185052697493</c:v>
                </c:pt>
                <c:pt idx="681">
                  <c:v>0.11869370815944458</c:v>
                </c:pt>
                <c:pt idx="682">
                  <c:v>0.10743921504504228</c:v>
                </c:pt>
                <c:pt idx="683">
                  <c:v>0.11316540510886797</c:v>
                </c:pt>
                <c:pt idx="684">
                  <c:v>0.11316540510886797</c:v>
                </c:pt>
                <c:pt idx="685">
                  <c:v>0.11316540510886797</c:v>
                </c:pt>
                <c:pt idx="686">
                  <c:v>0.12188459310074817</c:v>
                </c:pt>
                <c:pt idx="687">
                  <c:v>0.13096352654317944</c:v>
                </c:pt>
                <c:pt idx="688">
                  <c:v>0.12317414935909787</c:v>
                </c:pt>
                <c:pt idx="689">
                  <c:v>0.08336536380273363</c:v>
                </c:pt>
                <c:pt idx="690">
                  <c:v>0.08244767107842232</c:v>
                </c:pt>
                <c:pt idx="691">
                  <c:v>0.08244767107842232</c:v>
                </c:pt>
                <c:pt idx="692">
                  <c:v>0.08244767107842232</c:v>
                </c:pt>
                <c:pt idx="693">
                  <c:v>0.09008407684590436</c:v>
                </c:pt>
                <c:pt idx="694">
                  <c:v>0.10706791196482213</c:v>
                </c:pt>
                <c:pt idx="695">
                  <c:v>0.08860829218954103</c:v>
                </c:pt>
                <c:pt idx="696">
                  <c:v>0.09834164912635801</c:v>
                </c:pt>
                <c:pt idx="697">
                  <c:v>0.09773942227557564</c:v>
                </c:pt>
                <c:pt idx="698">
                  <c:v>0.09773942227557564</c:v>
                </c:pt>
                <c:pt idx="699">
                  <c:v>0.09773942227557564</c:v>
                </c:pt>
                <c:pt idx="700">
                  <c:v>0.09949697794573331</c:v>
                </c:pt>
                <c:pt idx="701">
                  <c:v>0.11284893828119258</c:v>
                </c:pt>
                <c:pt idx="702">
                  <c:v>0.07500411583663058</c:v>
                </c:pt>
                <c:pt idx="703">
                  <c:v>0.059003099866462794</c:v>
                </c:pt>
                <c:pt idx="704">
                  <c:v>0.055376905379258545</c:v>
                </c:pt>
                <c:pt idx="705">
                  <c:v>0.055376905379258545</c:v>
                </c:pt>
                <c:pt idx="706">
                  <c:v>0.055376905379258545</c:v>
                </c:pt>
                <c:pt idx="707">
                  <c:v>0.07061505656676337</c:v>
                </c:pt>
                <c:pt idx="708">
                  <c:v>0.06329745403547427</c:v>
                </c:pt>
                <c:pt idx="709">
                  <c:v>0.061816359807573606</c:v>
                </c:pt>
                <c:pt idx="710">
                  <c:v>0.060884806793739976</c:v>
                </c:pt>
                <c:pt idx="711">
                  <c:v>0.056858416424434566</c:v>
                </c:pt>
                <c:pt idx="712">
                  <c:v>0.056858416424434566</c:v>
                </c:pt>
                <c:pt idx="713">
                  <c:v>0.056858416424434566</c:v>
                </c:pt>
                <c:pt idx="714">
                  <c:v>0.057801806914050236</c:v>
                </c:pt>
                <c:pt idx="715">
                  <c:v>0.06488120950482079</c:v>
                </c:pt>
                <c:pt idx="716">
                  <c:v>0.07511887639621895</c:v>
                </c:pt>
                <c:pt idx="717">
                  <c:v>0.0677305389002032</c:v>
                </c:pt>
                <c:pt idx="718">
                  <c:v>0.07589453502396992</c:v>
                </c:pt>
                <c:pt idx="719">
                  <c:v>0.07589453502396992</c:v>
                </c:pt>
                <c:pt idx="720">
                  <c:v>0.07589453502396992</c:v>
                </c:pt>
                <c:pt idx="721">
                  <c:v>0.0949291015246847</c:v>
                </c:pt>
                <c:pt idx="722">
                  <c:v>0.11925315243024626</c:v>
                </c:pt>
                <c:pt idx="723">
                  <c:v>0.1334175475785635</c:v>
                </c:pt>
                <c:pt idx="724">
                  <c:v>0.1276096184890485</c:v>
                </c:pt>
                <c:pt idx="725">
                  <c:v>0.1379482493247537</c:v>
                </c:pt>
                <c:pt idx="726">
                  <c:v>0.1379482493247537</c:v>
                </c:pt>
                <c:pt idx="727">
                  <c:v>0.1379482493247537</c:v>
                </c:pt>
                <c:pt idx="728">
                  <c:v>0.14797889931976638</c:v>
                </c:pt>
                <c:pt idx="729">
                  <c:v>0.14152997861434646</c:v>
                </c:pt>
                <c:pt idx="730">
                  <c:v>0.1407604401665148</c:v>
                </c:pt>
                <c:pt idx="731">
                  <c:v>0.13009217864054312</c:v>
                </c:pt>
                <c:pt idx="732">
                  <c:v>0.13490929984529632</c:v>
                </c:pt>
                <c:pt idx="733">
                  <c:v>0.13490929984529632</c:v>
                </c:pt>
                <c:pt idx="734">
                  <c:v>0.13490929984529632</c:v>
                </c:pt>
                <c:pt idx="735">
                  <c:v>0.14768925112831943</c:v>
                </c:pt>
                <c:pt idx="736">
                  <c:v>0.14572321538798216</c:v>
                </c:pt>
                <c:pt idx="737">
                  <c:v>0.1536696494356089</c:v>
                </c:pt>
                <c:pt idx="738">
                  <c:v>0.16726024291765595</c:v>
                </c:pt>
                <c:pt idx="739">
                  <c:v>0.12445613261588728</c:v>
                </c:pt>
                <c:pt idx="740">
                  <c:v>0.12445613261588728</c:v>
                </c:pt>
                <c:pt idx="741">
                  <c:v>0.12445613261588728</c:v>
                </c:pt>
                <c:pt idx="742">
                  <c:v>0.11903205998901334</c:v>
                </c:pt>
                <c:pt idx="743">
                  <c:v>0.12424639184302477</c:v>
                </c:pt>
                <c:pt idx="744">
                  <c:v>0.1184085959770198</c:v>
                </c:pt>
                <c:pt idx="745">
                  <c:v>0.11270788093646633</c:v>
                </c:pt>
                <c:pt idx="746">
                  <c:v>0.11649170252720986</c:v>
                </c:pt>
                <c:pt idx="747">
                  <c:v>0.11649170252720986</c:v>
                </c:pt>
                <c:pt idx="748">
                  <c:v>0.11649170252720986</c:v>
                </c:pt>
                <c:pt idx="749">
                  <c:v>0.11039744590141964</c:v>
                </c:pt>
                <c:pt idx="750">
                  <c:v>0.10634625661049779</c:v>
                </c:pt>
                <c:pt idx="751">
                  <c:v>0.10480331351558347</c:v>
                </c:pt>
                <c:pt idx="752">
                  <c:v>0.1020730054601624</c:v>
                </c:pt>
                <c:pt idx="753">
                  <c:v>0.11055634843578943</c:v>
                </c:pt>
                <c:pt idx="754">
                  <c:v>0.11055634843578943</c:v>
                </c:pt>
                <c:pt idx="755">
                  <c:v>0.11055634843578943</c:v>
                </c:pt>
                <c:pt idx="756">
                  <c:v>0.11339079100815841</c:v>
                </c:pt>
                <c:pt idx="757">
                  <c:v>0.09744416080827434</c:v>
                </c:pt>
                <c:pt idx="758">
                  <c:v>0.11082821694802103</c:v>
                </c:pt>
                <c:pt idx="759">
                  <c:v>0.11051284301163933</c:v>
                </c:pt>
                <c:pt idx="760">
                  <c:v>0.13073138082572466</c:v>
                </c:pt>
                <c:pt idx="761">
                  <c:v>0.13073138082572466</c:v>
                </c:pt>
                <c:pt idx="762">
                  <c:v>0.13073138082572466</c:v>
                </c:pt>
                <c:pt idx="763">
                  <c:v>0.13157378215784687</c:v>
                </c:pt>
                <c:pt idx="764">
                  <c:v>0.15802730995858205</c:v>
                </c:pt>
                <c:pt idx="765">
                  <c:v>0.16554079358183715</c:v>
                </c:pt>
                <c:pt idx="766">
                  <c:v>0.16754871574441976</c:v>
                </c:pt>
                <c:pt idx="767">
                  <c:v>0.14892609077205377</c:v>
                </c:pt>
                <c:pt idx="768">
                  <c:v>0.14892609077205377</c:v>
                </c:pt>
                <c:pt idx="769">
                  <c:v>0.14892609077205377</c:v>
                </c:pt>
                <c:pt idx="770">
                  <c:v>0.14897709956505922</c:v>
                </c:pt>
                <c:pt idx="771">
                  <c:v>0.14549653397797235</c:v>
                </c:pt>
                <c:pt idx="772">
                  <c:v>0.12852974685254548</c:v>
                </c:pt>
                <c:pt idx="773">
                  <c:v>0.1287549580815588</c:v>
                </c:pt>
                <c:pt idx="774">
                  <c:v>0.10874835672042882</c:v>
                </c:pt>
                <c:pt idx="775">
                  <c:v>0.10874835672042882</c:v>
                </c:pt>
                <c:pt idx="776">
                  <c:v>0.10874835672042882</c:v>
                </c:pt>
                <c:pt idx="777">
                  <c:v>0.11370302330259863</c:v>
                </c:pt>
                <c:pt idx="778">
                  <c:v>0.1255216726031474</c:v>
                </c:pt>
                <c:pt idx="779">
                  <c:v>0.1056343346701425</c:v>
                </c:pt>
                <c:pt idx="780">
                  <c:v>0.10210718534822738</c:v>
                </c:pt>
                <c:pt idx="781">
                  <c:v>0.1040670171932141</c:v>
                </c:pt>
                <c:pt idx="782">
                  <c:v>0.1040670171932141</c:v>
                </c:pt>
                <c:pt idx="783">
                  <c:v>0.1040670171932141</c:v>
                </c:pt>
                <c:pt idx="784">
                  <c:v>0.10205540321469808</c:v>
                </c:pt>
                <c:pt idx="785">
                  <c:v>0.1034625869520025</c:v>
                </c:pt>
                <c:pt idx="786">
                  <c:v>0.11365177245823976</c:v>
                </c:pt>
                <c:pt idx="787">
                  <c:v>0.1369151013636647</c:v>
                </c:pt>
                <c:pt idx="788">
                  <c:v>0.15050018399097365</c:v>
                </c:pt>
                <c:pt idx="789">
                  <c:v>0.15050018399097365</c:v>
                </c:pt>
                <c:pt idx="790">
                  <c:v>0.15050018399097365</c:v>
                </c:pt>
                <c:pt idx="791">
                  <c:v>0.15275701227969685</c:v>
                </c:pt>
                <c:pt idx="792">
                  <c:v>0.1611704192128045</c:v>
                </c:pt>
                <c:pt idx="793">
                  <c:v>0.18017617351751714</c:v>
                </c:pt>
                <c:pt idx="794">
                  <c:v>0.1875967786677455</c:v>
                </c:pt>
                <c:pt idx="795">
                  <c:v>0.20927332256135345</c:v>
                </c:pt>
                <c:pt idx="796">
                  <c:v>0.20927332256135345</c:v>
                </c:pt>
                <c:pt idx="797">
                  <c:v>0.20927332256135345</c:v>
                </c:pt>
                <c:pt idx="798">
                  <c:v>0.20899191361156877</c:v>
                </c:pt>
                <c:pt idx="799">
                  <c:v>0.23924042482929986</c:v>
                </c:pt>
                <c:pt idx="800">
                  <c:v>0.24663375299788215</c:v>
                </c:pt>
                <c:pt idx="801">
                  <c:v>0.25114033894059595</c:v>
                </c:pt>
                <c:pt idx="802">
                  <c:v>0.2632313022082482</c:v>
                </c:pt>
                <c:pt idx="803">
                  <c:v>0.2632313022082482</c:v>
                </c:pt>
                <c:pt idx="804">
                  <c:v>0.2632313022082482</c:v>
                </c:pt>
                <c:pt idx="805">
                  <c:v>0.27439155875145405</c:v>
                </c:pt>
                <c:pt idx="806">
                  <c:v>0.2709261900804132</c:v>
                </c:pt>
                <c:pt idx="807">
                  <c:v>0.2706682547492565</c:v>
                </c:pt>
                <c:pt idx="808">
                  <c:v>0.27441539946097704</c:v>
                </c:pt>
                <c:pt idx="809">
                  <c:v>0.27511261179452107</c:v>
                </c:pt>
                <c:pt idx="810">
                  <c:v>0.27511261179452107</c:v>
                </c:pt>
                <c:pt idx="811">
                  <c:v>0.27511261179452107</c:v>
                </c:pt>
                <c:pt idx="812">
                  <c:v>0.27754099685296274</c:v>
                </c:pt>
                <c:pt idx="813">
                  <c:v>0.2868034615504049</c:v>
                </c:pt>
                <c:pt idx="814">
                  <c:v>0.28988313414270817</c:v>
                </c:pt>
                <c:pt idx="815">
                  <c:v>0.2939466090460754</c:v>
                </c:pt>
                <c:pt idx="816">
                  <c:v>0.294960383250104</c:v>
                </c:pt>
                <c:pt idx="817">
                  <c:v>0.294960383250104</c:v>
                </c:pt>
                <c:pt idx="818">
                  <c:v>0.294960383250104</c:v>
                </c:pt>
                <c:pt idx="819">
                  <c:v>0.2811233813282292</c:v>
                </c:pt>
                <c:pt idx="820">
                  <c:v>0.28331939333098033</c:v>
                </c:pt>
                <c:pt idx="821">
                  <c:v>0.28716413755235015</c:v>
                </c:pt>
                <c:pt idx="822">
                  <c:v>0.30366222763882966</c:v>
                </c:pt>
                <c:pt idx="823">
                  <c:v>0.32355439173466793</c:v>
                </c:pt>
                <c:pt idx="824">
                  <c:v>0.32355439173466793</c:v>
                </c:pt>
                <c:pt idx="825">
                  <c:v>0.32355439173466793</c:v>
                </c:pt>
                <c:pt idx="826">
                  <c:v>0.31018855147585556</c:v>
                </c:pt>
                <c:pt idx="827">
                  <c:v>0.33020195094028715</c:v>
                </c:pt>
                <c:pt idx="828">
                  <c:v>0.3485295934145336</c:v>
                </c:pt>
                <c:pt idx="829">
                  <c:v>0.362785489700282</c:v>
                </c:pt>
                <c:pt idx="830">
                  <c:v>0.37289625612860466</c:v>
                </c:pt>
                <c:pt idx="831">
                  <c:v>0.37289625612860466</c:v>
                </c:pt>
                <c:pt idx="832">
                  <c:v>0.37289625612860466</c:v>
                </c:pt>
                <c:pt idx="833">
                  <c:v>0.40435356677037104</c:v>
                </c:pt>
                <c:pt idx="834">
                  <c:v>0.41367158913112023</c:v>
                </c:pt>
                <c:pt idx="835">
                  <c:v>0.40795115817713956</c:v>
                </c:pt>
                <c:pt idx="836">
                  <c:v>0.4314469381285786</c:v>
                </c:pt>
                <c:pt idx="837">
                  <c:v>0.4295547872803225</c:v>
                </c:pt>
                <c:pt idx="838">
                  <c:v>0.4295547872803225</c:v>
                </c:pt>
                <c:pt idx="839">
                  <c:v>0.4295547872803225</c:v>
                </c:pt>
                <c:pt idx="840">
                  <c:v>0.435776527374103</c:v>
                </c:pt>
                <c:pt idx="841">
                  <c:v>0.44006826853855463</c:v>
                </c:pt>
                <c:pt idx="842">
                  <c:v>0.45065317842899444</c:v>
                </c:pt>
                <c:pt idx="843">
                  <c:v>0.4600995472298548</c:v>
                </c:pt>
                <c:pt idx="844">
                  <c:v>0.4696970664177418</c:v>
                </c:pt>
                <c:pt idx="845">
                  <c:v>0.4696970664177418</c:v>
                </c:pt>
                <c:pt idx="846">
                  <c:v>0.4696970664177418</c:v>
                </c:pt>
                <c:pt idx="847">
                  <c:v>0.4678069279068633</c:v>
                </c:pt>
                <c:pt idx="848">
                  <c:v>0.45032486464178345</c:v>
                </c:pt>
                <c:pt idx="849">
                  <c:v>0.4304150965975837</c:v>
                </c:pt>
                <c:pt idx="850">
                  <c:v>0.4327878039012443</c:v>
                </c:pt>
                <c:pt idx="851">
                  <c:v>0.43675602914121847</c:v>
                </c:pt>
                <c:pt idx="852">
                  <c:v>0.43675602914121847</c:v>
                </c:pt>
                <c:pt idx="853">
                  <c:v>0.43675602914121847</c:v>
                </c:pt>
                <c:pt idx="854">
                  <c:v>0.4549095925016464</c:v>
                </c:pt>
                <c:pt idx="855">
                  <c:v>0.4640335910009181</c:v>
                </c:pt>
                <c:pt idx="856">
                  <c:v>0.47166009397976594</c:v>
                </c:pt>
                <c:pt idx="857">
                  <c:v>0.47215728495529286</c:v>
                </c:pt>
                <c:pt idx="858">
                  <c:v>0.4760357809229303</c:v>
                </c:pt>
                <c:pt idx="859">
                  <c:v>0.4760357809229303</c:v>
                </c:pt>
                <c:pt idx="860">
                  <c:v>0.4760357809229303</c:v>
                </c:pt>
                <c:pt idx="861">
                  <c:v>0.4724064865640727</c:v>
                </c:pt>
                <c:pt idx="862">
                  <c:v>0.47597335063150314</c:v>
                </c:pt>
                <c:pt idx="863">
                  <c:v>0.472317431837874</c:v>
                </c:pt>
                <c:pt idx="864">
                  <c:v>0.48824423562368024</c:v>
                </c:pt>
                <c:pt idx="865">
                  <c:v>0.507961829580162</c:v>
                </c:pt>
                <c:pt idx="866">
                  <c:v>0.507961829580162</c:v>
                </c:pt>
                <c:pt idx="867">
                  <c:v>0.507961829580162</c:v>
                </c:pt>
                <c:pt idx="868">
                  <c:v>0.5134131311318355</c:v>
                </c:pt>
                <c:pt idx="869">
                  <c:v>0.5312300994067332</c:v>
                </c:pt>
                <c:pt idx="870">
                  <c:v>0.546897982610919</c:v>
                </c:pt>
                <c:pt idx="871">
                  <c:v>0.5600127532468664</c:v>
                </c:pt>
                <c:pt idx="872">
                  <c:v>0.565269845681657</c:v>
                </c:pt>
                <c:pt idx="873">
                  <c:v>0.565269845681657</c:v>
                </c:pt>
                <c:pt idx="874">
                  <c:v>0.565269845681657</c:v>
                </c:pt>
                <c:pt idx="875">
                  <c:v>0.5827178371321509</c:v>
                </c:pt>
                <c:pt idx="876">
                  <c:v>0.5875027818176732</c:v>
                </c:pt>
                <c:pt idx="877">
                  <c:v>0.5703529855061347</c:v>
                </c:pt>
                <c:pt idx="878">
                  <c:v>0.5837735204086121</c:v>
                </c:pt>
                <c:pt idx="879">
                  <c:v>0.6356589511664519</c:v>
                </c:pt>
                <c:pt idx="880">
                  <c:v>0.6356589511664519</c:v>
                </c:pt>
                <c:pt idx="881">
                  <c:v>0.6356589511664519</c:v>
                </c:pt>
                <c:pt idx="882">
                  <c:v>0.6448070635182575</c:v>
                </c:pt>
                <c:pt idx="883">
                  <c:v>0.633028413276399</c:v>
                </c:pt>
                <c:pt idx="884">
                  <c:v>0.6537192113415993</c:v>
                </c:pt>
                <c:pt idx="885">
                  <c:v>0.6471088813221408</c:v>
                </c:pt>
                <c:pt idx="886">
                  <c:v>0.6580614675051057</c:v>
                </c:pt>
                <c:pt idx="887">
                  <c:v>0.6580614675051057</c:v>
                </c:pt>
                <c:pt idx="888">
                  <c:v>0.6580614675051057</c:v>
                </c:pt>
                <c:pt idx="889">
                  <c:v>0.6568501360392387</c:v>
                </c:pt>
                <c:pt idx="890">
                  <c:v>0.6313598863823822</c:v>
                </c:pt>
                <c:pt idx="891">
                  <c:v>0.6432213209559423</c:v>
                </c:pt>
                <c:pt idx="892">
                  <c:v>0.648965866678576</c:v>
                </c:pt>
                <c:pt idx="893">
                  <c:v>0.6196849060851828</c:v>
                </c:pt>
                <c:pt idx="894">
                  <c:v>0.6196849060851828</c:v>
                </c:pt>
                <c:pt idx="895">
                  <c:v>0.6196849060851828</c:v>
                </c:pt>
                <c:pt idx="896">
                  <c:v>0.5193714485237284</c:v>
                </c:pt>
                <c:pt idx="897">
                  <c:v>0.3886995281933161</c:v>
                </c:pt>
                <c:pt idx="898">
                  <c:v>0.38089244837217784</c:v>
                </c:pt>
                <c:pt idx="899">
                  <c:v>0.4361569270599406</c:v>
                </c:pt>
                <c:pt idx="900">
                  <c:v>0.434958992280559</c:v>
                </c:pt>
                <c:pt idx="901">
                  <c:v>0.434958992280559</c:v>
                </c:pt>
                <c:pt idx="902">
                  <c:v>0.434958992280559</c:v>
                </c:pt>
                <c:pt idx="903">
                  <c:v>0.4483322651591368</c:v>
                </c:pt>
                <c:pt idx="904">
                  <c:v>0.4533401775310659</c:v>
                </c:pt>
                <c:pt idx="905">
                  <c:v>0.46220768846225035</c:v>
                </c:pt>
                <c:pt idx="906">
                  <c:v>0.47164034520010856</c:v>
                </c:pt>
                <c:pt idx="907">
                  <c:v>0.5193143612449118</c:v>
                </c:pt>
                <c:pt idx="908">
                  <c:v>0.5193143612449118</c:v>
                </c:pt>
                <c:pt idx="909">
                  <c:v>0.5193143612449118</c:v>
                </c:pt>
                <c:pt idx="910">
                  <c:v>0.5213166006802761</c:v>
                </c:pt>
                <c:pt idx="911">
                  <c:v>0.5050115288370152</c:v>
                </c:pt>
                <c:pt idx="912">
                  <c:v>0.5402069276389434</c:v>
                </c:pt>
                <c:pt idx="913">
                  <c:v>0.5707992228099488</c:v>
                </c:pt>
                <c:pt idx="914">
                  <c:v>0.5638660572543233</c:v>
                </c:pt>
                <c:pt idx="915">
                  <c:v>0.5638660572543233</c:v>
                </c:pt>
                <c:pt idx="916">
                  <c:v>0.5638660572543233</c:v>
                </c:pt>
                <c:pt idx="917">
                  <c:v>0.5557510776980439</c:v>
                </c:pt>
                <c:pt idx="918">
                  <c:v>0.6076178249188124</c:v>
                </c:pt>
                <c:pt idx="919">
                  <c:v>0.6160497762705395</c:v>
                </c:pt>
                <c:pt idx="920">
                  <c:v>0.6034028470614683</c:v>
                </c:pt>
                <c:pt idx="921">
                  <c:v>0.6083898659463778</c:v>
                </c:pt>
                <c:pt idx="922">
                  <c:v>0.6083898659463778</c:v>
                </c:pt>
                <c:pt idx="923">
                  <c:v>0.6083898659463778</c:v>
                </c:pt>
                <c:pt idx="924">
                  <c:v>0.6327156438160941</c:v>
                </c:pt>
                <c:pt idx="925">
                  <c:v>0.6733078735849802</c:v>
                </c:pt>
                <c:pt idx="926">
                  <c:v>0.705794470722255</c:v>
                </c:pt>
                <c:pt idx="927">
                  <c:v>0.7276209589110687</c:v>
                </c:pt>
                <c:pt idx="928">
                  <c:v>0.7479273357243788</c:v>
                </c:pt>
                <c:pt idx="929">
                  <c:v>0.7479273357243788</c:v>
                </c:pt>
                <c:pt idx="930">
                  <c:v>0.7479273357243788</c:v>
                </c:pt>
                <c:pt idx="931">
                  <c:v>0.7484932693125554</c:v>
                </c:pt>
                <c:pt idx="932">
                  <c:v>0.7775993937345278</c:v>
                </c:pt>
                <c:pt idx="933">
                  <c:v>0.6832191172871203</c:v>
                </c:pt>
                <c:pt idx="934">
                  <c:v>0.6706662271402986</c:v>
                </c:pt>
                <c:pt idx="935">
                  <c:v>0.6417728067660504</c:v>
                </c:pt>
                <c:pt idx="936">
                  <c:v>0.6417728067660504</c:v>
                </c:pt>
                <c:pt idx="937">
                  <c:v>0.6417728067660504</c:v>
                </c:pt>
                <c:pt idx="938">
                  <c:v>0.6545822603269089</c:v>
                </c:pt>
                <c:pt idx="939">
                  <c:v>0.651766287855621</c:v>
                </c:pt>
                <c:pt idx="940">
                  <c:v>0.6436812232069749</c:v>
                </c:pt>
                <c:pt idx="941">
                  <c:v>0.6234238223731481</c:v>
                </c:pt>
                <c:pt idx="942">
                  <c:v>0.6392891651244696</c:v>
                </c:pt>
                <c:pt idx="943">
                  <c:v>0.6392891651244696</c:v>
                </c:pt>
                <c:pt idx="944">
                  <c:v>0.6392891651244696</c:v>
                </c:pt>
                <c:pt idx="945">
                  <c:v>0.6374144496273684</c:v>
                </c:pt>
                <c:pt idx="946">
                  <c:v>0.6293791685229722</c:v>
                </c:pt>
                <c:pt idx="947">
                  <c:v>0.644599370361413</c:v>
                </c:pt>
                <c:pt idx="948">
                  <c:v>0.6656320212472273</c:v>
                </c:pt>
                <c:pt idx="949">
                  <c:v>0.6424110077645295</c:v>
                </c:pt>
                <c:pt idx="950">
                  <c:v>0.6424110077645295</c:v>
                </c:pt>
                <c:pt idx="951">
                  <c:v>0.6424110077645295</c:v>
                </c:pt>
                <c:pt idx="952">
                  <c:v>0.611709938351261</c:v>
                </c:pt>
                <c:pt idx="953">
                  <c:v>0.6134293910613455</c:v>
                </c:pt>
                <c:pt idx="954">
                  <c:v>0.5957940225710672</c:v>
                </c:pt>
                <c:pt idx="955">
                  <c:v>0.6037403024459835</c:v>
                </c:pt>
                <c:pt idx="956">
                  <c:v>0.5911758636074811</c:v>
                </c:pt>
                <c:pt idx="957">
                  <c:v>0.5911758636074811</c:v>
                </c:pt>
                <c:pt idx="958">
                  <c:v>0.5911758636074811</c:v>
                </c:pt>
                <c:pt idx="959">
                  <c:v>0.6179818498640224</c:v>
                </c:pt>
                <c:pt idx="960">
                  <c:v>0.6590794248831069</c:v>
                </c:pt>
                <c:pt idx="961">
                  <c:v>0.6496223378976631</c:v>
                </c:pt>
                <c:pt idx="962">
                  <c:v>0.6571868082261687</c:v>
                </c:pt>
                <c:pt idx="963">
                  <c:v>0.7038264884803744</c:v>
                </c:pt>
                <c:pt idx="964">
                  <c:v>0.7038264884803744</c:v>
                </c:pt>
                <c:pt idx="965">
                  <c:v>0.7038264884803744</c:v>
                </c:pt>
                <c:pt idx="966">
                  <c:v>0.719935803193533</c:v>
                </c:pt>
                <c:pt idx="967">
                  <c:v>0.70314535155459</c:v>
                </c:pt>
                <c:pt idx="968">
                  <c:v>0.6998582842156638</c:v>
                </c:pt>
                <c:pt idx="969">
                  <c:v>0.7207234841986383</c:v>
                </c:pt>
                <c:pt idx="970">
                  <c:v>0.7605499114603662</c:v>
                </c:pt>
                <c:pt idx="971">
                  <c:v>0.7605499114603662</c:v>
                </c:pt>
                <c:pt idx="972">
                  <c:v>0.7605499114603662</c:v>
                </c:pt>
                <c:pt idx="973">
                  <c:v>0.7854507341697756</c:v>
                </c:pt>
                <c:pt idx="974">
                  <c:v>0.7977103593183552</c:v>
                </c:pt>
                <c:pt idx="975">
                  <c:v>0.795953618900624</c:v>
                </c:pt>
                <c:pt idx="976">
                  <c:v>0.8146467564702147</c:v>
                </c:pt>
                <c:pt idx="977">
                  <c:v>0.8245940564175698</c:v>
                </c:pt>
                <c:pt idx="978">
                  <c:v>0.8245940564175698</c:v>
                </c:pt>
                <c:pt idx="979">
                  <c:v>0.8245940564175698</c:v>
                </c:pt>
                <c:pt idx="980">
                  <c:v>0.8315723604980576</c:v>
                </c:pt>
                <c:pt idx="981">
                  <c:v>0.7366672608639178</c:v>
                </c:pt>
                <c:pt idx="982">
                  <c:v>0.712109152400241</c:v>
                </c:pt>
                <c:pt idx="983">
                  <c:v>0.7450513570329245</c:v>
                </c:pt>
                <c:pt idx="984">
                  <c:v>0.7173341473989436</c:v>
                </c:pt>
                <c:pt idx="985">
                  <c:v>0.7173341473989436</c:v>
                </c:pt>
                <c:pt idx="986">
                  <c:v>0.7173341473989436</c:v>
                </c:pt>
                <c:pt idx="987">
                  <c:v>0.7328199678976699</c:v>
                </c:pt>
                <c:pt idx="988">
                  <c:v>0.7623149391562309</c:v>
                </c:pt>
                <c:pt idx="989">
                  <c:v>0.760335415868866</c:v>
                </c:pt>
                <c:pt idx="990">
                  <c:v>0.7900647384037025</c:v>
                </c:pt>
                <c:pt idx="991">
                  <c:v>0.8409305895588208</c:v>
                </c:pt>
                <c:pt idx="992">
                  <c:v>0.8409305895588208</c:v>
                </c:pt>
                <c:pt idx="993">
                  <c:v>0.8409305895588208</c:v>
                </c:pt>
                <c:pt idx="994">
                  <c:v>0.8614904834137085</c:v>
                </c:pt>
                <c:pt idx="995">
                  <c:v>0.891822965208283</c:v>
                </c:pt>
                <c:pt idx="996">
                  <c:v>0.8848054445212636</c:v>
                </c:pt>
                <c:pt idx="997">
                  <c:v>0.8797315372015495</c:v>
                </c:pt>
                <c:pt idx="998">
                  <c:v>0.8728358770500906</c:v>
                </c:pt>
                <c:pt idx="999">
                  <c:v>0.8728358770500906</c:v>
                </c:pt>
                <c:pt idx="1000">
                  <c:v>0.8728358770500906</c:v>
                </c:pt>
                <c:pt idx="1001">
                  <c:v>0.8016154410520495</c:v>
                </c:pt>
                <c:pt idx="1002">
                  <c:v>0.8177887912916932</c:v>
                </c:pt>
                <c:pt idx="1003">
                  <c:v>0.8656639225628784</c:v>
                </c:pt>
                <c:pt idx="1004">
                  <c:v>0.8727970900354456</c:v>
                </c:pt>
                <c:pt idx="1005">
                  <c:v>0.8624353041435351</c:v>
                </c:pt>
                <c:pt idx="1006">
                  <c:v>0.8624353041435351</c:v>
                </c:pt>
                <c:pt idx="1007">
                  <c:v>0.8624353041435351</c:v>
                </c:pt>
                <c:pt idx="1008">
                  <c:v>0.8906060302485006</c:v>
                </c:pt>
                <c:pt idx="1009">
                  <c:v>0.8772733599379612</c:v>
                </c:pt>
                <c:pt idx="1010">
                  <c:v>0.8944183323161472</c:v>
                </c:pt>
                <c:pt idx="1011">
                  <c:v>0.9121347960413075</c:v>
                </c:pt>
                <c:pt idx="1012">
                  <c:v>0.9049440679589213</c:v>
                </c:pt>
                <c:pt idx="1013">
                  <c:v>0.9049440679589213</c:v>
                </c:pt>
                <c:pt idx="1014">
                  <c:v>0.9049440679589213</c:v>
                </c:pt>
                <c:pt idx="1015">
                  <c:v>0.8963608424515521</c:v>
                </c:pt>
                <c:pt idx="1016">
                  <c:v>0.8866351560858245</c:v>
                </c:pt>
                <c:pt idx="1017">
                  <c:v>0.8925561702561295</c:v>
                </c:pt>
                <c:pt idx="1018">
                  <c:v>0.8513407131011204</c:v>
                </c:pt>
                <c:pt idx="1019">
                  <c:v>0.8221601322431669</c:v>
                </c:pt>
                <c:pt idx="1020">
                  <c:v>0.8221601322431669</c:v>
                </c:pt>
                <c:pt idx="1021">
                  <c:v>0.8221601322431669</c:v>
                </c:pt>
                <c:pt idx="1022">
                  <c:v>0.7941962823454476</c:v>
                </c:pt>
                <c:pt idx="1023">
                  <c:v>0.8212717923166171</c:v>
                </c:pt>
                <c:pt idx="1024">
                  <c:v>0.8494127204835336</c:v>
                </c:pt>
                <c:pt idx="1025">
                  <c:v>0.8457601548813425</c:v>
                </c:pt>
                <c:pt idx="1026">
                  <c:v>0.8226010862741644</c:v>
                </c:pt>
                <c:pt idx="1027">
                  <c:v>0.8226010862741644</c:v>
                </c:pt>
                <c:pt idx="1028">
                  <c:v>0.8226010862741644</c:v>
                </c:pt>
                <c:pt idx="1029">
                  <c:v>0.7106500129755637</c:v>
                </c:pt>
                <c:pt idx="1030">
                  <c:v>0.7118727851394708</c:v>
                </c:pt>
                <c:pt idx="1031">
                  <c:v>0.7479794748980617</c:v>
                </c:pt>
                <c:pt idx="1032">
                  <c:v>0.7582788857664018</c:v>
                </c:pt>
                <c:pt idx="1033">
                  <c:v>0.7704993138591074</c:v>
                </c:pt>
                <c:pt idx="1034">
                  <c:v>0.7704993138591074</c:v>
                </c:pt>
                <c:pt idx="1035">
                  <c:v>0.7704993138591074</c:v>
                </c:pt>
                <c:pt idx="1036">
                  <c:v>0.7804720980341981</c:v>
                </c:pt>
                <c:pt idx="1037">
                  <c:v>0.7881362037249835</c:v>
                </c:pt>
                <c:pt idx="1038">
                  <c:v>0.8194412410296141</c:v>
                </c:pt>
                <c:pt idx="1039">
                  <c:v>0.8313373187743449</c:v>
                </c:pt>
                <c:pt idx="1040">
                  <c:v>0.8437816746135098</c:v>
                </c:pt>
                <c:pt idx="1041">
                  <c:v>0.8437816746135098</c:v>
                </c:pt>
                <c:pt idx="1042">
                  <c:v>0.8437816746135098</c:v>
                </c:pt>
                <c:pt idx="1043">
                  <c:v>0.8486411753997454</c:v>
                </c:pt>
                <c:pt idx="1044">
                  <c:v>0.8521543902484985</c:v>
                </c:pt>
                <c:pt idx="1045">
                  <c:v>0.8141061158965792</c:v>
                </c:pt>
                <c:pt idx="1046">
                  <c:v>0.8218558808325538</c:v>
                </c:pt>
                <c:pt idx="1047">
                  <c:v>0.8331107830095008</c:v>
                </c:pt>
                <c:pt idx="1048">
                  <c:v>0.8331107830095008</c:v>
                </c:pt>
                <c:pt idx="1049">
                  <c:v>0.8331107830095008</c:v>
                </c:pt>
                <c:pt idx="1050">
                  <c:v>0.8016187854270593</c:v>
                </c:pt>
                <c:pt idx="1051">
                  <c:v>0.8220919451295317</c:v>
                </c:pt>
                <c:pt idx="1052">
                  <c:v>0.7627283572502144</c:v>
                </c:pt>
                <c:pt idx="1053">
                  <c:v>0.7523436128492409</c:v>
                </c:pt>
                <c:pt idx="1054">
                  <c:v>0.7747812507775491</c:v>
                </c:pt>
                <c:pt idx="1055">
                  <c:v>0.7747812507775491</c:v>
                </c:pt>
                <c:pt idx="1056">
                  <c:v>0.7747812507775491</c:v>
                </c:pt>
                <c:pt idx="1057">
                  <c:v>0.7718870810193452</c:v>
                </c:pt>
                <c:pt idx="1058">
                  <c:v>0.7438185165525706</c:v>
                </c:pt>
                <c:pt idx="1059">
                  <c:v>0.8290633711079256</c:v>
                </c:pt>
                <c:pt idx="1060">
                  <c:v>0.768257797109702</c:v>
                </c:pt>
                <c:pt idx="1061">
                  <c:v>0.7131965039939596</c:v>
                </c:pt>
                <c:pt idx="1062">
                  <c:v>0.7131965039939596</c:v>
                </c:pt>
                <c:pt idx="1063">
                  <c:v>0.7131965039939596</c:v>
                </c:pt>
                <c:pt idx="1064">
                  <c:v>0.6504839534153053</c:v>
                </c:pt>
                <c:pt idx="1065">
                  <c:v>0.6954109015611423</c:v>
                </c:pt>
                <c:pt idx="1066">
                  <c:v>0.6852972916667694</c:v>
                </c:pt>
                <c:pt idx="1067">
                  <c:v>0.7324771397211034</c:v>
                </c:pt>
                <c:pt idx="1068">
                  <c:v>0.7526128999970656</c:v>
                </c:pt>
                <c:pt idx="1069">
                  <c:v>0.7526128999970656</c:v>
                </c:pt>
                <c:pt idx="1070">
                  <c:v>0.7526128999970656</c:v>
                </c:pt>
                <c:pt idx="1071">
                  <c:v>0.7591284866435075</c:v>
                </c:pt>
                <c:pt idx="1072">
                  <c:v>0.8043345105426043</c:v>
                </c:pt>
                <c:pt idx="1073">
                  <c:v>0.8031422643766777</c:v>
                </c:pt>
                <c:pt idx="1074">
                  <c:v>0.8438395727761441</c:v>
                </c:pt>
                <c:pt idx="1075">
                  <c:v>0.8581013385079872</c:v>
                </c:pt>
                <c:pt idx="1076">
                  <c:v>0.8581013385079872</c:v>
                </c:pt>
                <c:pt idx="1077">
                  <c:v>0.8581013385079872</c:v>
                </c:pt>
                <c:pt idx="1078">
                  <c:v>0.8687036926883955</c:v>
                </c:pt>
                <c:pt idx="1079">
                  <c:v>0.8232096701329958</c:v>
                </c:pt>
                <c:pt idx="1080">
                  <c:v>0.8382235911946714</c:v>
                </c:pt>
                <c:pt idx="1081">
                  <c:v>0.832001807208474</c:v>
                </c:pt>
                <c:pt idx="1082">
                  <c:v>0.8667691415031347</c:v>
                </c:pt>
                <c:pt idx="1083">
                  <c:v>0.8667691415031347</c:v>
                </c:pt>
                <c:pt idx="1084">
                  <c:v>0.8667691415031347</c:v>
                </c:pt>
                <c:pt idx="1085">
                  <c:v>0.8528843696984982</c:v>
                </c:pt>
                <c:pt idx="1086">
                  <c:v>0.8763635487967958</c:v>
                </c:pt>
                <c:pt idx="1087">
                  <c:v>0.8512258391201559</c:v>
                </c:pt>
                <c:pt idx="1088">
                  <c:v>0.8139588926376535</c:v>
                </c:pt>
                <c:pt idx="1089">
                  <c:v>0.8390426629110859</c:v>
                </c:pt>
                <c:pt idx="1090">
                  <c:v>0.8390426629110859</c:v>
                </c:pt>
                <c:pt idx="1091">
                  <c:v>0.8390426629110859</c:v>
                </c:pt>
                <c:pt idx="1092">
                  <c:v>0.8378364081120409</c:v>
                </c:pt>
                <c:pt idx="1093">
                  <c:v>0.7774787708223707</c:v>
                </c:pt>
                <c:pt idx="1094">
                  <c:v>0.7656259301505084</c:v>
                </c:pt>
                <c:pt idx="1095">
                  <c:v>0.7741282587702067</c:v>
                </c:pt>
                <c:pt idx="1096">
                  <c:v>0.7361218721292591</c:v>
                </c:pt>
                <c:pt idx="1097">
                  <c:v>0.7361218721292591</c:v>
                </c:pt>
                <c:pt idx="1098">
                  <c:v>0.7361218721292591</c:v>
                </c:pt>
                <c:pt idx="1099">
                  <c:v>0.7638265158288546</c:v>
                </c:pt>
                <c:pt idx="1100">
                  <c:v>0.7619524453348225</c:v>
                </c:pt>
                <c:pt idx="1101">
                  <c:v>0.8178008467784963</c:v>
                </c:pt>
                <c:pt idx="1102">
                  <c:v>0.8394674846385948</c:v>
                </c:pt>
                <c:pt idx="1103">
                  <c:v>0.8378907958936139</c:v>
                </c:pt>
                <c:pt idx="1104">
                  <c:v>0.8378907958936139</c:v>
                </c:pt>
                <c:pt idx="1105">
                  <c:v>0.8378907958936139</c:v>
                </c:pt>
                <c:pt idx="1106">
                  <c:v>0.8374285278729179</c:v>
                </c:pt>
                <c:pt idx="1107">
                  <c:v>0.8499642715054165</c:v>
                </c:pt>
                <c:pt idx="1108">
                  <c:v>0.8440018051027312</c:v>
                </c:pt>
                <c:pt idx="1109">
                  <c:v>0.8916821629132128</c:v>
                </c:pt>
                <c:pt idx="1110">
                  <c:v>0.849840282907055</c:v>
                </c:pt>
                <c:pt idx="1111">
                  <c:v>0.849840282907055</c:v>
                </c:pt>
                <c:pt idx="1112">
                  <c:v>0.849840282907055</c:v>
                </c:pt>
                <c:pt idx="1113">
                  <c:v>0.8832107847733093</c:v>
                </c:pt>
                <c:pt idx="1114">
                  <c:v>0.9159211593094918</c:v>
                </c:pt>
                <c:pt idx="1115">
                  <c:v>0.9205432751745857</c:v>
                </c:pt>
                <c:pt idx="1116">
                  <c:v>0.9569443913037277</c:v>
                </c:pt>
                <c:pt idx="1117">
                  <c:v>0.9310661061768415</c:v>
                </c:pt>
                <c:pt idx="1118">
                  <c:v>0.9310661061768415</c:v>
                </c:pt>
                <c:pt idx="1119">
                  <c:v>0.9310661061768415</c:v>
                </c:pt>
                <c:pt idx="1120">
                  <c:v>0.9380823398883957</c:v>
                </c:pt>
                <c:pt idx="1121">
                  <c:v>0.9083702536525575</c:v>
                </c:pt>
                <c:pt idx="1122">
                  <c:v>0.9072415813639749</c:v>
                </c:pt>
                <c:pt idx="1123">
                  <c:v>0.9047995758555516</c:v>
                </c:pt>
                <c:pt idx="1124">
                  <c:v>0.9499892735766973</c:v>
                </c:pt>
                <c:pt idx="1125">
                  <c:v>0.9499892735766973</c:v>
                </c:pt>
                <c:pt idx="1126">
                  <c:v>0.9499892735766973</c:v>
                </c:pt>
                <c:pt idx="1127">
                  <c:v>0.9597147152277592</c:v>
                </c:pt>
                <c:pt idx="1128">
                  <c:v>0.9658944113376702</c:v>
                </c:pt>
                <c:pt idx="1129">
                  <c:v>0.973975583101566</c:v>
                </c:pt>
                <c:pt idx="1130">
                  <c:v>0.9744835339622973</c:v>
                </c:pt>
                <c:pt idx="1131">
                  <c:v>1.0055341888681846</c:v>
                </c:pt>
                <c:pt idx="1132">
                  <c:v>1.0055341888681846</c:v>
                </c:pt>
                <c:pt idx="1133">
                  <c:v>1.0055341888681846</c:v>
                </c:pt>
                <c:pt idx="1134">
                  <c:v>1.004948171076275</c:v>
                </c:pt>
                <c:pt idx="1135">
                  <c:v>0.9649474270805882</c:v>
                </c:pt>
                <c:pt idx="1136">
                  <c:v>0.9786380557605174</c:v>
                </c:pt>
                <c:pt idx="1137">
                  <c:v>1.0020155404515734</c:v>
                </c:pt>
                <c:pt idx="1138">
                  <c:v>1.020733898104817</c:v>
                </c:pt>
                <c:pt idx="1139">
                  <c:v>1.020733898104817</c:v>
                </c:pt>
                <c:pt idx="1140">
                  <c:v>1.020733898104817</c:v>
                </c:pt>
                <c:pt idx="1141">
                  <c:v>1.0161938287351684</c:v>
                </c:pt>
                <c:pt idx="1142">
                  <c:v>1.0317758792541367</c:v>
                </c:pt>
                <c:pt idx="1143">
                  <c:v>1.0010795409904758</c:v>
                </c:pt>
                <c:pt idx="1144">
                  <c:v>0.999558505419706</c:v>
                </c:pt>
                <c:pt idx="1145">
                  <c:v>1.0187757063001035</c:v>
                </c:pt>
                <c:pt idx="1146">
                  <c:v>1.0187757063001035</c:v>
                </c:pt>
                <c:pt idx="1147">
                  <c:v>1.0187757063001035</c:v>
                </c:pt>
                <c:pt idx="1148">
                  <c:v>1.0125305788162562</c:v>
                </c:pt>
                <c:pt idx="1149">
                  <c:v>1.0359612216778706</c:v>
                </c:pt>
                <c:pt idx="1150">
                  <c:v>1.023916431471016</c:v>
                </c:pt>
                <c:pt idx="1151">
                  <c:v>0.9684966895161771</c:v>
                </c:pt>
                <c:pt idx="1152">
                  <c:v>1.0036026314060895</c:v>
                </c:pt>
                <c:pt idx="1153">
                  <c:v>1.0036026314060895</c:v>
                </c:pt>
                <c:pt idx="1154">
                  <c:v>1.0036026314060895</c:v>
                </c:pt>
                <c:pt idx="1155">
                  <c:v>1.0074326856052327</c:v>
                </c:pt>
                <c:pt idx="1156">
                  <c:v>1.035516996084898</c:v>
                </c:pt>
                <c:pt idx="1157">
                  <c:v>1.0700956353938076</c:v>
                </c:pt>
                <c:pt idx="1158">
                  <c:v>1.1062042555900238</c:v>
                </c:pt>
                <c:pt idx="1159">
                  <c:v>1.102231175277287</c:v>
                </c:pt>
                <c:pt idx="1160">
                  <c:v>1.102231175277287</c:v>
                </c:pt>
                <c:pt idx="1161">
                  <c:v>1.102231175277287</c:v>
                </c:pt>
                <c:pt idx="1162">
                  <c:v>1.129913879637778</c:v>
                </c:pt>
                <c:pt idx="1163">
                  <c:v>1.1012216806374906</c:v>
                </c:pt>
                <c:pt idx="1164">
                  <c:v>1.0978632609585843</c:v>
                </c:pt>
                <c:pt idx="1165">
                  <c:v>1.1033742672370455</c:v>
                </c:pt>
                <c:pt idx="1166">
                  <c:v>1.0770949371568062</c:v>
                </c:pt>
                <c:pt idx="1167">
                  <c:v>1.0770949371568062</c:v>
                </c:pt>
                <c:pt idx="1168">
                  <c:v>1.0770949371568062</c:v>
                </c:pt>
                <c:pt idx="1169">
                  <c:v>1.1008463976673006</c:v>
                </c:pt>
                <c:pt idx="1170">
                  <c:v>1.1108514103374154</c:v>
                </c:pt>
                <c:pt idx="1171">
                  <c:v>1.126875116583859</c:v>
                </c:pt>
                <c:pt idx="1172">
                  <c:v>1.1264102051649125</c:v>
                </c:pt>
                <c:pt idx="1173">
                  <c:v>1.1218633978603427</c:v>
                </c:pt>
                <c:pt idx="1174">
                  <c:v>1.1218633978603427</c:v>
                </c:pt>
                <c:pt idx="1175">
                  <c:v>1.1218633978603427</c:v>
                </c:pt>
                <c:pt idx="1176">
                  <c:v>1.1253850566656678</c:v>
                </c:pt>
                <c:pt idx="1177">
                  <c:v>1.120047520960124</c:v>
                </c:pt>
                <c:pt idx="1178">
                  <c:v>1.1080021634741333</c:v>
                </c:pt>
                <c:pt idx="1179">
                  <c:v>1.0976968375958283</c:v>
                </c:pt>
                <c:pt idx="1180">
                  <c:v>1.0861976449641926</c:v>
                </c:pt>
                <c:pt idx="1181">
                  <c:v>1.0861976449641926</c:v>
                </c:pt>
                <c:pt idx="1182">
                  <c:v>1.0861976449641926</c:v>
                </c:pt>
                <c:pt idx="1183">
                  <c:v>1.1004529502284774</c:v>
                </c:pt>
                <c:pt idx="1184">
                  <c:v>1.1205381461969655</c:v>
                </c:pt>
                <c:pt idx="1185">
                  <c:v>1.1420670972263802</c:v>
                </c:pt>
                <c:pt idx="1186">
                  <c:v>1.14240937971431</c:v>
                </c:pt>
                <c:pt idx="1187">
                  <c:v>1.1567308685589688</c:v>
                </c:pt>
                <c:pt idx="1188">
                  <c:v>1.1567308685589688</c:v>
                </c:pt>
                <c:pt idx="1189">
                  <c:v>1.1567308685589688</c:v>
                </c:pt>
                <c:pt idx="1190">
                  <c:v>1.1605065435232178</c:v>
                </c:pt>
                <c:pt idx="1191">
                  <c:v>1.1474834697498442</c:v>
                </c:pt>
                <c:pt idx="1192">
                  <c:v>1.1831775194777516</c:v>
                </c:pt>
                <c:pt idx="1193">
                  <c:v>1.171664086806247</c:v>
                </c:pt>
                <c:pt idx="1194">
                  <c:v>1.1690433297011693</c:v>
                </c:pt>
                <c:pt idx="1195">
                  <c:v>1.1690433297011693</c:v>
                </c:pt>
                <c:pt idx="1196">
                  <c:v>1.1690433297011693</c:v>
                </c:pt>
                <c:pt idx="1197">
                  <c:v>1.1704473266080893</c:v>
                </c:pt>
                <c:pt idx="1198">
                  <c:v>1.164957636440493</c:v>
                </c:pt>
                <c:pt idx="1199">
                  <c:v>1.1204451961478639</c:v>
                </c:pt>
                <c:pt idx="1200">
                  <c:v>1.1133813567343758</c:v>
                </c:pt>
                <c:pt idx="1201">
                  <c:v>1.108447372946729</c:v>
                </c:pt>
                <c:pt idx="1202">
                  <c:v>1.108447372946729</c:v>
                </c:pt>
                <c:pt idx="1203">
                  <c:v>1.108447372946729</c:v>
                </c:pt>
                <c:pt idx="1204">
                  <c:v>1.1210368940989053</c:v>
                </c:pt>
                <c:pt idx="1205">
                  <c:v>1.1472709300521675</c:v>
                </c:pt>
                <c:pt idx="1206">
                  <c:v>1.143779774182617</c:v>
                </c:pt>
                <c:pt idx="1207">
                  <c:v>1.138591759054552</c:v>
                </c:pt>
                <c:pt idx="1208">
                  <c:v>1.123985149835459</c:v>
                </c:pt>
                <c:pt idx="1209">
                  <c:v>1.123985149835459</c:v>
                </c:pt>
                <c:pt idx="1210">
                  <c:v>1.123985149835459</c:v>
                </c:pt>
                <c:pt idx="1211">
                  <c:v>1.1145665375588916</c:v>
                </c:pt>
                <c:pt idx="1212">
                  <c:v>1.1079339694608237</c:v>
                </c:pt>
                <c:pt idx="1213">
                  <c:v>1.1079339694608237</c:v>
                </c:pt>
                <c:pt idx="1214">
                  <c:v>1.117716080732332</c:v>
                </c:pt>
                <c:pt idx="1215">
                  <c:v>1.1413945600225932</c:v>
                </c:pt>
                <c:pt idx="1216">
                  <c:v>1.1413945600225932</c:v>
                </c:pt>
                <c:pt idx="1217">
                  <c:v>1.1413945600225932</c:v>
                </c:pt>
                <c:pt idx="1218">
                  <c:v>1.166210062786634</c:v>
                </c:pt>
                <c:pt idx="1219">
                  <c:v>1.13005330124026</c:v>
                </c:pt>
                <c:pt idx="1220">
                  <c:v>1.1313232917049514</c:v>
                </c:pt>
                <c:pt idx="1221">
                  <c:v>1.1264905032003916</c:v>
                </c:pt>
                <c:pt idx="1222">
                  <c:v>1.0838272053984683</c:v>
                </c:pt>
                <c:pt idx="1223">
                  <c:v>1.0838272053984683</c:v>
                </c:pt>
                <c:pt idx="1224">
                  <c:v>1.0838272053984683</c:v>
                </c:pt>
                <c:pt idx="1225">
                  <c:v>1.063908484905956</c:v>
                </c:pt>
                <c:pt idx="1226">
                  <c:v>1.0492533758380658</c:v>
                </c:pt>
                <c:pt idx="1227">
                  <c:v>1.1067387038797656</c:v>
                </c:pt>
                <c:pt idx="1228">
                  <c:v>1.1043557130166186</c:v>
                </c:pt>
                <c:pt idx="1229">
                  <c:v>1.1205063878570867</c:v>
                </c:pt>
                <c:pt idx="1230">
                  <c:v>1.1205063878570867</c:v>
                </c:pt>
                <c:pt idx="1231">
                  <c:v>1.1205063878570867</c:v>
                </c:pt>
                <c:pt idx="1232">
                  <c:v>1.1260842694126523</c:v>
                </c:pt>
                <c:pt idx="1233">
                  <c:v>1.1477576813741392</c:v>
                </c:pt>
                <c:pt idx="1234">
                  <c:v>1.1624442839806362</c:v>
                </c:pt>
                <c:pt idx="1235">
                  <c:v>1.180173241441977</c:v>
                </c:pt>
                <c:pt idx="1236">
                  <c:v>1.1842178728647306</c:v>
                </c:pt>
                <c:pt idx="1237">
                  <c:v>1.1842178728647306</c:v>
                </c:pt>
                <c:pt idx="1238">
                  <c:v>1.1842178728647306</c:v>
                </c:pt>
                <c:pt idx="1239">
                  <c:v>1.1189547891990759</c:v>
                </c:pt>
                <c:pt idx="1240">
                  <c:v>1.1606744888577238</c:v>
                </c:pt>
                <c:pt idx="1241">
                  <c:v>1.155336668759511</c:v>
                </c:pt>
                <c:pt idx="1242">
                  <c:v>1.1806592032354746</c:v>
                </c:pt>
                <c:pt idx="1243">
                  <c:v>1.1671220251666359</c:v>
                </c:pt>
                <c:pt idx="1244">
                  <c:v>1.1671220251666359</c:v>
                </c:pt>
                <c:pt idx="1245">
                  <c:v>1.1671220251666359</c:v>
                </c:pt>
                <c:pt idx="1246">
                  <c:v>1.183989706068067</c:v>
                </c:pt>
                <c:pt idx="1247">
                  <c:v>1.1612983377968504</c:v>
                </c:pt>
                <c:pt idx="1248">
                  <c:v>1.2010604987565965</c:v>
                </c:pt>
                <c:pt idx="1249">
                  <c:v>1.2186799834511026</c:v>
                </c:pt>
                <c:pt idx="1250">
                  <c:v>1.2172373362234024</c:v>
                </c:pt>
                <c:pt idx="1251">
                  <c:v>1.2172373362234024</c:v>
                </c:pt>
                <c:pt idx="1252">
                  <c:v>1.2172373362234024</c:v>
                </c:pt>
                <c:pt idx="1253">
                  <c:v>1.2290894560295529</c:v>
                </c:pt>
                <c:pt idx="1254">
                  <c:v>1.2106959420419656</c:v>
                </c:pt>
                <c:pt idx="1255">
                  <c:v>1.2099280931562513</c:v>
                </c:pt>
                <c:pt idx="1256">
                  <c:v>1.2303195944733978</c:v>
                </c:pt>
                <c:pt idx="1257">
                  <c:v>1.2420820252386493</c:v>
                </c:pt>
                <c:pt idx="1258">
                  <c:v>1.2420820252386493</c:v>
                </c:pt>
                <c:pt idx="1259">
                  <c:v>1.2420820252386493</c:v>
                </c:pt>
                <c:pt idx="1260">
                  <c:v>1.251764884087307</c:v>
                </c:pt>
                <c:pt idx="1261">
                  <c:v>1.2582524117533875</c:v>
                </c:pt>
                <c:pt idx="1262">
                  <c:v>1.228861397220483</c:v>
                </c:pt>
                <c:pt idx="1263">
                  <c:v>1.2407491795774965</c:v>
                </c:pt>
                <c:pt idx="1264">
                  <c:v>1.2286200723316654</c:v>
                </c:pt>
                <c:pt idx="1265">
                  <c:v>1.2286200723316654</c:v>
                </c:pt>
                <c:pt idx="1266">
                  <c:v>1.2286200723316654</c:v>
                </c:pt>
                <c:pt idx="1267">
                  <c:v>1.2081734152604353</c:v>
                </c:pt>
                <c:pt idx="1268">
                  <c:v>1.1882514945758222</c:v>
                </c:pt>
                <c:pt idx="1269">
                  <c:v>1.1969060609964695</c:v>
                </c:pt>
                <c:pt idx="1270">
                  <c:v>1.1716815987898097</c:v>
                </c:pt>
                <c:pt idx="1271">
                  <c:v>1.1856639148613546</c:v>
                </c:pt>
                <c:pt idx="1272">
                  <c:v>1.1856639148613546</c:v>
                </c:pt>
                <c:pt idx="1273">
                  <c:v>1.1856639148613546</c:v>
                </c:pt>
                <c:pt idx="1274">
                  <c:v>1.1697648619531904</c:v>
                </c:pt>
                <c:pt idx="1275">
                  <c:v>1.1567003396230402</c:v>
                </c:pt>
                <c:pt idx="1276">
                  <c:v>1.1889170964929554</c:v>
                </c:pt>
                <c:pt idx="1277">
                  <c:v>1.171720277592402</c:v>
                </c:pt>
                <c:pt idx="1278">
                  <c:v>1.1962703890354551</c:v>
                </c:pt>
                <c:pt idx="1279">
                  <c:v>1.1962703890354551</c:v>
                </c:pt>
                <c:pt idx="1280">
                  <c:v>1.1962703890354551</c:v>
                </c:pt>
                <c:pt idx="1281">
                  <c:v>1.1151180875727174</c:v>
                </c:pt>
                <c:pt idx="1282">
                  <c:v>1.1077745016956917</c:v>
                </c:pt>
                <c:pt idx="1283">
                  <c:v>1.1099750455523898</c:v>
                </c:pt>
                <c:pt idx="1284">
                  <c:v>1.0846590907854745</c:v>
                </c:pt>
                <c:pt idx="1285">
                  <c:v>1.1241958936931522</c:v>
                </c:pt>
                <c:pt idx="1286">
                  <c:v>1.1241958936931522</c:v>
                </c:pt>
                <c:pt idx="1287">
                  <c:v>1.1241958936931522</c:v>
                </c:pt>
                <c:pt idx="1288">
                  <c:v>1.1387262063762287</c:v>
                </c:pt>
                <c:pt idx="1289">
                  <c:v>1.1348162525805372</c:v>
                </c:pt>
                <c:pt idx="1290">
                  <c:v>1.1573183470241628</c:v>
                </c:pt>
                <c:pt idx="1291">
                  <c:v>1.1511106178736434</c:v>
                </c:pt>
                <c:pt idx="1292">
                  <c:v>1.1490782421808534</c:v>
                </c:pt>
                <c:pt idx="1293">
                  <c:v>1.1490782421808534</c:v>
                </c:pt>
                <c:pt idx="1294">
                  <c:v>1.1490782421808534</c:v>
                </c:pt>
                <c:pt idx="1295">
                  <c:v>1.1764202827544747</c:v>
                </c:pt>
                <c:pt idx="1296">
                  <c:v>1.1771707959892224</c:v>
                </c:pt>
                <c:pt idx="1297">
                  <c:v>1.1656247156701252</c:v>
                </c:pt>
                <c:pt idx="1298">
                  <c:v>1.1462681292025096</c:v>
                </c:pt>
                <c:pt idx="1299">
                  <c:v>1.1101091441404027</c:v>
                </c:pt>
                <c:pt idx="1300">
                  <c:v>1.1101091441404027</c:v>
                </c:pt>
                <c:pt idx="1301">
                  <c:v>1.1101091441404027</c:v>
                </c:pt>
                <c:pt idx="1302">
                  <c:v>1.0665119081725085</c:v>
                </c:pt>
                <c:pt idx="1303">
                  <c:v>1.0818086225237105</c:v>
                </c:pt>
                <c:pt idx="1304">
                  <c:v>1.0756143270067802</c:v>
                </c:pt>
                <c:pt idx="1305">
                  <c:v>0.9863254585223835</c:v>
                </c:pt>
                <c:pt idx="1306">
                  <c:v>0.8747689191219497</c:v>
                </c:pt>
                <c:pt idx="1307">
                  <c:v>0.8747689191219497</c:v>
                </c:pt>
                <c:pt idx="1308">
                  <c:v>0.8747689191219497</c:v>
                </c:pt>
                <c:pt idx="1309">
                  <c:v>0.8478874756759887</c:v>
                </c:pt>
                <c:pt idx="1310">
                  <c:v>0.839526628056263</c:v>
                </c:pt>
                <c:pt idx="1311">
                  <c:v>0.945920136116412</c:v>
                </c:pt>
                <c:pt idx="1312">
                  <c:v>0.9368436719124966</c:v>
                </c:pt>
                <c:pt idx="1313">
                  <c:v>0.9933734909626024</c:v>
                </c:pt>
                <c:pt idx="1314">
                  <c:v>0.9933734909626024</c:v>
                </c:pt>
                <c:pt idx="1315">
                  <c:v>0.9933734909626024</c:v>
                </c:pt>
                <c:pt idx="1316">
                  <c:v>1.0198864004430135</c:v>
                </c:pt>
                <c:pt idx="1317">
                  <c:v>1.0262330054212114</c:v>
                </c:pt>
                <c:pt idx="1318">
                  <c:v>1.0015162813079463</c:v>
                </c:pt>
                <c:pt idx="1319">
                  <c:v>1.0084840338102161</c:v>
                </c:pt>
                <c:pt idx="1320">
                  <c:v>1.0091456203613784</c:v>
                </c:pt>
                <c:pt idx="1321">
                  <c:v>1.0091456203613784</c:v>
                </c:pt>
                <c:pt idx="1322">
                  <c:v>1.0091456203613784</c:v>
                </c:pt>
                <c:pt idx="1323">
                  <c:v>0.9809097575183945</c:v>
                </c:pt>
                <c:pt idx="1324">
                  <c:v>1.0093636168526627</c:v>
                </c:pt>
                <c:pt idx="1325">
                  <c:v>1.0521135681599385</c:v>
                </c:pt>
                <c:pt idx="1326">
                  <c:v>1.0727940298932226</c:v>
                </c:pt>
                <c:pt idx="1327">
                  <c:v>1.0630728989336036</c:v>
                </c:pt>
                <c:pt idx="1328">
                  <c:v>1.0630728989336036</c:v>
                </c:pt>
                <c:pt idx="1329">
                  <c:v>1.0630728989336036</c:v>
                </c:pt>
                <c:pt idx="1330">
                  <c:v>1.045214199681515</c:v>
                </c:pt>
                <c:pt idx="1331">
                  <c:v>1.0623873302390288</c:v>
                </c:pt>
                <c:pt idx="1332">
                  <c:v>1.0715845997192788</c:v>
                </c:pt>
                <c:pt idx="1333">
                  <c:v>1.0721453278423754</c:v>
                </c:pt>
                <c:pt idx="1334">
                  <c:v>1.1112493195817241</c:v>
                </c:pt>
                <c:pt idx="1335">
                  <c:v>1.1112493195817241</c:v>
                </c:pt>
                <c:pt idx="1336">
                  <c:v>1.1112493195817241</c:v>
                </c:pt>
                <c:pt idx="1337">
                  <c:v>1.0937173589804914</c:v>
                </c:pt>
                <c:pt idx="1338">
                  <c:v>1.0651177566412655</c:v>
                </c:pt>
                <c:pt idx="1339">
                  <c:v>1.03019267691153</c:v>
                </c:pt>
                <c:pt idx="1340">
                  <c:v>1.0104771875338545</c:v>
                </c:pt>
                <c:pt idx="1341">
                  <c:v>0.9934229259099514</c:v>
                </c:pt>
                <c:pt idx="1342">
                  <c:v>0.9934229259099514</c:v>
                </c:pt>
                <c:pt idx="1343">
                  <c:v>0.9934229259099514</c:v>
                </c:pt>
                <c:pt idx="1344">
                  <c:v>1.0357088383534059</c:v>
                </c:pt>
                <c:pt idx="1345">
                  <c:v>1.0486818664685376</c:v>
                </c:pt>
                <c:pt idx="1346">
                  <c:v>1.0843975136578057</c:v>
                </c:pt>
                <c:pt idx="1347">
                  <c:v>1.1060301287996879</c:v>
                </c:pt>
                <c:pt idx="1348">
                  <c:v>1.1145411711404947</c:v>
                </c:pt>
                <c:pt idx="1349">
                  <c:v>1.1145411711404947</c:v>
                </c:pt>
                <c:pt idx="1350">
                  <c:v>1.1145411711404947</c:v>
                </c:pt>
                <c:pt idx="1351">
                  <c:v>1.133762226267288</c:v>
                </c:pt>
                <c:pt idx="1352">
                  <c:v>1.1426618805834239</c:v>
                </c:pt>
                <c:pt idx="1353">
                  <c:v>1.1320473331807177</c:v>
                </c:pt>
                <c:pt idx="1354">
                  <c:v>1.1394801293814525</c:v>
                </c:pt>
                <c:pt idx="1355">
                  <c:v>1.1410484752661536</c:v>
                </c:pt>
                <c:pt idx="1356">
                  <c:v>1.1410484752661536</c:v>
                </c:pt>
                <c:pt idx="1357">
                  <c:v>1.1410484752661536</c:v>
                </c:pt>
                <c:pt idx="1358">
                  <c:v>1.1525388239808292</c:v>
                </c:pt>
                <c:pt idx="1359">
                  <c:v>1.2054250211065631</c:v>
                </c:pt>
                <c:pt idx="1360">
                  <c:v>1.1305085089015314</c:v>
                </c:pt>
                <c:pt idx="1361">
                  <c:v>1.099870885331708</c:v>
                </c:pt>
                <c:pt idx="1362">
                  <c:v>1.1032582205194137</c:v>
                </c:pt>
                <c:pt idx="1363">
                  <c:v>1.1032582205194137</c:v>
                </c:pt>
                <c:pt idx="1364">
                  <c:v>1.1032582205194137</c:v>
                </c:pt>
                <c:pt idx="1365">
                  <c:v>1.1238965687097178</c:v>
                </c:pt>
                <c:pt idx="1366">
                  <c:v>1.1342907817377657</c:v>
                </c:pt>
                <c:pt idx="1367">
                  <c:v>1.161349684955142</c:v>
                </c:pt>
                <c:pt idx="1368">
                  <c:v>1.0660438837045145</c:v>
                </c:pt>
                <c:pt idx="1369">
                  <c:v>1.1061145990992802</c:v>
                </c:pt>
                <c:pt idx="1370">
                  <c:v>1.1061145990992802</c:v>
                </c:pt>
                <c:pt idx="1371">
                  <c:v>1.1061145990992802</c:v>
                </c:pt>
                <c:pt idx="1372">
                  <c:v>1.0007868158003328</c:v>
                </c:pt>
                <c:pt idx="1373">
                  <c:v>1.0230749366181047</c:v>
                </c:pt>
                <c:pt idx="1374">
                  <c:v>1.0354874734658615</c:v>
                </c:pt>
                <c:pt idx="1375">
                  <c:v>1.0184623094555407</c:v>
                </c:pt>
                <c:pt idx="1376">
                  <c:v>0.9692078390408077</c:v>
                </c:pt>
                <c:pt idx="1377">
                  <c:v>0.9692078390408077</c:v>
                </c:pt>
                <c:pt idx="1378">
                  <c:v>0.9692078390408077</c:v>
                </c:pt>
                <c:pt idx="1379">
                  <c:v>0.9451908555775015</c:v>
                </c:pt>
                <c:pt idx="1380">
                  <c:v>0.9381138458691383</c:v>
                </c:pt>
                <c:pt idx="1381">
                  <c:v>0.9424803710919858</c:v>
                </c:pt>
                <c:pt idx="1382">
                  <c:v>0.9110908075535695</c:v>
                </c:pt>
                <c:pt idx="1383">
                  <c:v>0.8609124287613028</c:v>
                </c:pt>
                <c:pt idx="1384">
                  <c:v>0.8609124287613028</c:v>
                </c:pt>
                <c:pt idx="1385">
                  <c:v>0.8609124287613028</c:v>
                </c:pt>
                <c:pt idx="1386">
                  <c:v>0.8487121434170586</c:v>
                </c:pt>
                <c:pt idx="1387">
                  <c:v>0.8834865868935557</c:v>
                </c:pt>
                <c:pt idx="1388">
                  <c:v>0.8932262634673245</c:v>
                </c:pt>
                <c:pt idx="1389">
                  <c:v>0.9172929028556076</c:v>
                </c:pt>
                <c:pt idx="1390">
                  <c:v>0.9388383339215769</c:v>
                </c:pt>
                <c:pt idx="1391">
                  <c:v>0.9388383339215769</c:v>
                </c:pt>
                <c:pt idx="1392">
                  <c:v>0.9388383339215769</c:v>
                </c:pt>
                <c:pt idx="1393">
                  <c:v>0.9568969449851321</c:v>
                </c:pt>
                <c:pt idx="1394">
                  <c:v>0.9774908080465452</c:v>
                </c:pt>
                <c:pt idx="1395">
                  <c:v>0.9950064800533396</c:v>
                </c:pt>
                <c:pt idx="1396">
                  <c:v>1.0198574698880698</c:v>
                </c:pt>
                <c:pt idx="1397">
                  <c:v>1.0341725871363585</c:v>
                </c:pt>
                <c:pt idx="1398">
                  <c:v>1.0341725871363585</c:v>
                </c:pt>
                <c:pt idx="1399">
                  <c:v>1.0341725871363585</c:v>
                </c:pt>
                <c:pt idx="1400">
                  <c:v>1.0200438520731847</c:v>
                </c:pt>
                <c:pt idx="1401">
                  <c:v>1.0149650336129477</c:v>
                </c:pt>
                <c:pt idx="1402">
                  <c:v>1.0184227192607658</c:v>
                </c:pt>
                <c:pt idx="1403">
                  <c:v>1.0261105322782202</c:v>
                </c:pt>
                <c:pt idx="1404">
                  <c:v>0.9350511882997485</c:v>
                </c:pt>
                <c:pt idx="1405">
                  <c:v>0.9350511882997485</c:v>
                </c:pt>
                <c:pt idx="1406">
                  <c:v>0.9350511882997485</c:v>
                </c:pt>
                <c:pt idx="1407">
                  <c:v>0.9105502399982186</c:v>
                </c:pt>
                <c:pt idx="1408">
                  <c:v>0.9139731026989988</c:v>
                </c:pt>
                <c:pt idx="1409">
                  <c:v>0.8889758982406373</c:v>
                </c:pt>
                <c:pt idx="1410">
                  <c:v>0.9022258845695785</c:v>
                </c:pt>
                <c:pt idx="1411">
                  <c:v>0.9500092259721675</c:v>
                </c:pt>
                <c:pt idx="1412">
                  <c:v>0.9500092259721675</c:v>
                </c:pt>
                <c:pt idx="1413">
                  <c:v>0.9500092259721675</c:v>
                </c:pt>
                <c:pt idx="1414">
                  <c:v>0.9278026741670384</c:v>
                </c:pt>
                <c:pt idx="1415">
                  <c:v>0.9337324665959685</c:v>
                </c:pt>
                <c:pt idx="1416">
                  <c:v>0.9672188217789879</c:v>
                </c:pt>
                <c:pt idx="1417">
                  <c:v>0.9773932631009146</c:v>
                </c:pt>
                <c:pt idx="1418">
                  <c:v>0.988748108024974</c:v>
                </c:pt>
                <c:pt idx="1419">
                  <c:v>0.988748108024974</c:v>
                </c:pt>
                <c:pt idx="1420">
                  <c:v>0.988748108024974</c:v>
                </c:pt>
                <c:pt idx="1421">
                  <c:v>0.974599506028095</c:v>
                </c:pt>
                <c:pt idx="1422">
                  <c:v>0.9780369283802834</c:v>
                </c:pt>
                <c:pt idx="1423">
                  <c:v>0.9291338916913066</c:v>
                </c:pt>
                <c:pt idx="1424">
                  <c:v>0.9233884468555673</c:v>
                </c:pt>
                <c:pt idx="1425">
                  <c:v>0.8904176641967274</c:v>
                </c:pt>
                <c:pt idx="1426">
                  <c:v>0.8904176641967274</c:v>
                </c:pt>
                <c:pt idx="1427">
                  <c:v>0.8904176641967274</c:v>
                </c:pt>
                <c:pt idx="1428">
                  <c:v>0.8757969525975244</c:v>
                </c:pt>
                <c:pt idx="1429">
                  <c:v>0.9030580680869968</c:v>
                </c:pt>
                <c:pt idx="1430">
                  <c:v>0.916896837018331</c:v>
                </c:pt>
                <c:pt idx="1431">
                  <c:v>0.9334560867566064</c:v>
                </c:pt>
                <c:pt idx="1432">
                  <c:v>0.9620011663589678</c:v>
                </c:pt>
                <c:pt idx="1433">
                  <c:v>0.9620011663589678</c:v>
                </c:pt>
                <c:pt idx="1434">
                  <c:v>0.9620011663589678</c:v>
                </c:pt>
                <c:pt idx="1435">
                  <c:v>0.9468944087558047</c:v>
                </c:pt>
                <c:pt idx="1436">
                  <c:v>0.9811145190571389</c:v>
                </c:pt>
                <c:pt idx="1437">
                  <c:v>0.9680088130754536</c:v>
                </c:pt>
                <c:pt idx="1438">
                  <c:v>0.9663897385343929</c:v>
                </c:pt>
                <c:pt idx="1439">
                  <c:v>0.9605734685254559</c:v>
                </c:pt>
                <c:pt idx="1440">
                  <c:v>0.9605734685254559</c:v>
                </c:pt>
                <c:pt idx="1441">
                  <c:v>0.9605734685254559</c:v>
                </c:pt>
                <c:pt idx="1442">
                  <c:v>0.9648359196026217</c:v>
                </c:pt>
                <c:pt idx="1443">
                  <c:v>0.9665043221783438</c:v>
                </c:pt>
                <c:pt idx="1444">
                  <c:v>0.9580858502076357</c:v>
                </c:pt>
                <c:pt idx="1445">
                  <c:v>0.956164474479754</c:v>
                </c:pt>
                <c:pt idx="1446">
                  <c:v>0.9743110024661061</c:v>
                </c:pt>
                <c:pt idx="1447">
                  <c:v>0.9743110024661061</c:v>
                </c:pt>
                <c:pt idx="1448">
                  <c:v>0.9743110024661061</c:v>
                </c:pt>
                <c:pt idx="1449">
                  <c:v>0.9381135278916781</c:v>
                </c:pt>
                <c:pt idx="1450">
                  <c:v>0.9779185044951664</c:v>
                </c:pt>
                <c:pt idx="1451">
                  <c:v>0.9848571725483182</c:v>
                </c:pt>
                <c:pt idx="1452">
                  <c:v>0.9916788804348056</c:v>
                </c:pt>
                <c:pt idx="1453">
                  <c:v>0.9934668840343817</c:v>
                </c:pt>
                <c:pt idx="1454">
                  <c:v>0.9934668840343817</c:v>
                </c:pt>
                <c:pt idx="1455">
                  <c:v>0.9934668840343817</c:v>
                </c:pt>
                <c:pt idx="1456">
                  <c:v>1.005951308777838</c:v>
                </c:pt>
                <c:pt idx="1457">
                  <c:v>0.9923353986632231</c:v>
                </c:pt>
                <c:pt idx="1458">
                  <c:v>1.0137627656800223</c:v>
                </c:pt>
                <c:pt idx="1459">
                  <c:v>1.034037925115609</c:v>
                </c:pt>
                <c:pt idx="1460">
                  <c:v>1.0378701759032944</c:v>
                </c:pt>
                <c:pt idx="1461">
                  <c:v>1.0378701759032944</c:v>
                </c:pt>
                <c:pt idx="1462">
                  <c:v>1.0378701759032944</c:v>
                </c:pt>
                <c:pt idx="1463">
                  <c:v>1.0443657402115676</c:v>
                </c:pt>
                <c:pt idx="1464">
                  <c:v>1.0627666037201777</c:v>
                </c:pt>
                <c:pt idx="1465">
                  <c:v>1.0622475986672546</c:v>
                </c:pt>
                <c:pt idx="1466">
                  <c:v>1.0999570029987407</c:v>
                </c:pt>
                <c:pt idx="1467">
                  <c:v>1.06790600464474</c:v>
                </c:pt>
                <c:pt idx="1468">
                  <c:v>1.06790600464474</c:v>
                </c:pt>
                <c:pt idx="1469">
                  <c:v>1.06790600464474</c:v>
                </c:pt>
                <c:pt idx="1470">
                  <c:v>1.067235713118281</c:v>
                </c:pt>
                <c:pt idx="1471">
                  <c:v>1.0633643371530588</c:v>
                </c:pt>
                <c:pt idx="1472">
                  <c:v>1.0393824510336755</c:v>
                </c:pt>
                <c:pt idx="1473">
                  <c:v>1.0543943166255336</c:v>
                </c:pt>
                <c:pt idx="1474">
                  <c:v>1.0709906435239356</c:v>
                </c:pt>
                <c:pt idx="1475">
                  <c:v>1.0709906435239356</c:v>
                </c:pt>
                <c:pt idx="1476">
                  <c:v>1.0709906435239356</c:v>
                </c:pt>
                <c:pt idx="1477">
                  <c:v>1.089228536158895</c:v>
                </c:pt>
                <c:pt idx="1478">
                  <c:v>1.0986488308988225</c:v>
                </c:pt>
                <c:pt idx="1479">
                  <c:v>1.0801341905560626</c:v>
                </c:pt>
                <c:pt idx="1480">
                  <c:v>1.0666646041507404</c:v>
                </c:pt>
                <c:pt idx="1481">
                  <c:v>1.0772430857304354</c:v>
                </c:pt>
                <c:pt idx="1482">
                  <c:v>1.0772430857304354</c:v>
                </c:pt>
                <c:pt idx="1483">
                  <c:v>1.0772430857304354</c:v>
                </c:pt>
                <c:pt idx="1484">
                  <c:v>1.0810680085986624</c:v>
                </c:pt>
                <c:pt idx="1485">
                  <c:v>1.1014914183822802</c:v>
                </c:pt>
              </c:numCache>
            </c:numRef>
          </c:val>
          <c:smooth val="0"/>
          <c:extLst>
            <c:ext xmlns:c16="http://schemas.microsoft.com/office/drawing/2014/chart" uri="{C3380CC4-5D6E-409C-BE32-E72D297353CC}">
              <c16:uniqueId val="{00000002-1D55-4091-B462-1B341D70D85C}"/>
            </c:ext>
          </c:extLst>
        </c:ser>
        <c:ser>
          <c:idx val="3"/>
          <c:order val="3"/>
          <c:tx>
            <c:strRef>
              <c:f>Sheet1!$E$1</c:f>
              <c:strCache>
                <c:ptCount val="1"/>
                <c:pt idx="0">
                  <c:v>Benchmark return ZMW</c:v>
                </c:pt>
              </c:strCache>
            </c:strRef>
          </c:tx>
          <c:spPr>
            <a:ln w="12700" cap="rnd">
              <a:solidFill>
                <a:schemeClr val="bg1">
                  <a:lumMod val="65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E$2:$E$1487</c:f>
              <c:numCache>
                <c:formatCode>General</c:formatCode>
                <c:ptCount val="1486"/>
                <c:pt idx="0">
                  <c:v>0.0</c:v>
                </c:pt>
                <c:pt idx="1">
                  <c:v>-0.0012939980631476722</c:v>
                </c:pt>
                <c:pt idx="2">
                  <c:v>-0.005559269730191163</c:v>
                </c:pt>
                <c:pt idx="3">
                  <c:v>-0.004830329074744233</c:v>
                </c:pt>
                <c:pt idx="4">
                  <c:v>-0.009688704623334266</c:v>
                </c:pt>
                <c:pt idx="5">
                  <c:v>-0.009688704623334266</c:v>
                </c:pt>
                <c:pt idx="6">
                  <c:v>-0.009688704623334266</c:v>
                </c:pt>
                <c:pt idx="7">
                  <c:v>-0.0036727042582708203</c:v>
                </c:pt>
                <c:pt idx="8">
                  <c:v>-0.007073494518882062</c:v>
                </c:pt>
                <c:pt idx="9">
                  <c:v>0.0021342325334621215</c:v>
                </c:pt>
                <c:pt idx="10">
                  <c:v>0.0005101269391931673</c:v>
                </c:pt>
                <c:pt idx="11">
                  <c:v>-0.008278975435499825</c:v>
                </c:pt>
                <c:pt idx="12">
                  <c:v>-0.008278975435499825</c:v>
                </c:pt>
                <c:pt idx="13">
                  <c:v>-0.008278975435499825</c:v>
                </c:pt>
                <c:pt idx="14">
                  <c:v>-0.024395519885352157</c:v>
                </c:pt>
                <c:pt idx="15">
                  <c:v>-0.019537430026034808</c:v>
                </c:pt>
                <c:pt idx="16">
                  <c:v>-0.009189134191853743</c:v>
                </c:pt>
                <c:pt idx="17">
                  <c:v>0.004879951650155867</c:v>
                </c:pt>
                <c:pt idx="18">
                  <c:v>0.0052073317944894</c:v>
                </c:pt>
                <c:pt idx="19">
                  <c:v>0.0052073317944894</c:v>
                </c:pt>
                <c:pt idx="20">
                  <c:v>0.0052073317944894</c:v>
                </c:pt>
                <c:pt idx="21">
                  <c:v>0.006821692910774946</c:v>
                </c:pt>
                <c:pt idx="22">
                  <c:v>-0.008290701835613867</c:v>
                </c:pt>
                <c:pt idx="23">
                  <c:v>-0.008938762262546307</c:v>
                </c:pt>
                <c:pt idx="24">
                  <c:v>-0.01352172214066616</c:v>
                </c:pt>
                <c:pt idx="25">
                  <c:v>-0.005088378075346345</c:v>
                </c:pt>
                <c:pt idx="26">
                  <c:v>-0.005088378075346345</c:v>
                </c:pt>
                <c:pt idx="27">
                  <c:v>-0.005088378075346345</c:v>
                </c:pt>
                <c:pt idx="28">
                  <c:v>-0.016951941695392714</c:v>
                </c:pt>
                <c:pt idx="29">
                  <c:v>-0.0008542216350566623</c:v>
                </c:pt>
                <c:pt idx="30">
                  <c:v>0.007082291599500579</c:v>
                </c:pt>
                <c:pt idx="31">
                  <c:v>0.018904662430804464</c:v>
                </c:pt>
                <c:pt idx="32">
                  <c:v>0.020368503652881786</c:v>
                </c:pt>
                <c:pt idx="33">
                  <c:v>0.020368503652881786</c:v>
                </c:pt>
                <c:pt idx="34">
                  <c:v>0.020368503652881786</c:v>
                </c:pt>
                <c:pt idx="35">
                  <c:v>0.018206981087713014</c:v>
                </c:pt>
                <c:pt idx="36">
                  <c:v>0.013980094102710394</c:v>
                </c:pt>
                <c:pt idx="37">
                  <c:v>0.016061327479323317</c:v>
                </c:pt>
                <c:pt idx="38">
                  <c:v>0.023259796984492764</c:v>
                </c:pt>
                <c:pt idx="39">
                  <c:v>0.03284994142874553</c:v>
                </c:pt>
                <c:pt idx="40">
                  <c:v>0.03284994142874553</c:v>
                </c:pt>
                <c:pt idx="41">
                  <c:v>0.03284994142874553</c:v>
                </c:pt>
                <c:pt idx="42">
                  <c:v>0.05133602120100589</c:v>
                </c:pt>
                <c:pt idx="43">
                  <c:v>0.04516562285640502</c:v>
                </c:pt>
                <c:pt idx="44">
                  <c:v>0.05334132535944702</c:v>
                </c:pt>
                <c:pt idx="45">
                  <c:v>0.05714907947962322</c:v>
                </c:pt>
                <c:pt idx="46">
                  <c:v>0.05659128879143993</c:v>
                </c:pt>
                <c:pt idx="47">
                  <c:v>0.05659128879143993</c:v>
                </c:pt>
                <c:pt idx="48">
                  <c:v>0.05659128879143993</c:v>
                </c:pt>
                <c:pt idx="49">
                  <c:v>0.061087739928079365</c:v>
                </c:pt>
                <c:pt idx="50">
                  <c:v>0.06220154315373416</c:v>
                </c:pt>
                <c:pt idx="51">
                  <c:v>0.05906120478010535</c:v>
                </c:pt>
                <c:pt idx="52">
                  <c:v>0.07280293801295734</c:v>
                </c:pt>
                <c:pt idx="53">
                  <c:v>0.0714964625992609</c:v>
                </c:pt>
                <c:pt idx="54">
                  <c:v>0.0714964625992609</c:v>
                </c:pt>
                <c:pt idx="55">
                  <c:v>0.0714964625992609</c:v>
                </c:pt>
                <c:pt idx="56">
                  <c:v>0.07820165114946542</c:v>
                </c:pt>
                <c:pt idx="57">
                  <c:v>0.08078382677309981</c:v>
                </c:pt>
                <c:pt idx="58">
                  <c:v>0.08876980768732223</c:v>
                </c:pt>
                <c:pt idx="59">
                  <c:v>0.09169791256448168</c:v>
                </c:pt>
                <c:pt idx="60">
                  <c:v>0.09690621033468605</c:v>
                </c:pt>
                <c:pt idx="61">
                  <c:v>0.09690621033468605</c:v>
                </c:pt>
                <c:pt idx="62">
                  <c:v>0.09690621033468605</c:v>
                </c:pt>
                <c:pt idx="63">
                  <c:v>0.10320448239108204</c:v>
                </c:pt>
                <c:pt idx="64">
                  <c:v>0.09991593543278454</c:v>
                </c:pt>
                <c:pt idx="65">
                  <c:v>0.09167019485080119</c:v>
                </c:pt>
                <c:pt idx="66">
                  <c:v>0.09599619825174521</c:v>
                </c:pt>
                <c:pt idx="67">
                  <c:v>0.10290230001904122</c:v>
                </c:pt>
                <c:pt idx="68">
                  <c:v>0.10290230001904122</c:v>
                </c:pt>
                <c:pt idx="69">
                  <c:v>0.10290230001904122</c:v>
                </c:pt>
                <c:pt idx="70">
                  <c:v>0.10371764001833905</c:v>
                </c:pt>
                <c:pt idx="71">
                  <c:v>0.10686483764227073</c:v>
                </c:pt>
                <c:pt idx="72">
                  <c:v>0.10677572792474876</c:v>
                </c:pt>
                <c:pt idx="73">
                  <c:v>0.11046882300314853</c:v>
                </c:pt>
                <c:pt idx="74">
                  <c:v>0.10748023409995011</c:v>
                </c:pt>
                <c:pt idx="75">
                  <c:v>0.10748023409995011</c:v>
                </c:pt>
                <c:pt idx="76">
                  <c:v>0.10748023409995011</c:v>
                </c:pt>
                <c:pt idx="77">
                  <c:v>0.10078967959926977</c:v>
                </c:pt>
                <c:pt idx="78">
                  <c:v>0.09975246079140332</c:v>
                </c:pt>
                <c:pt idx="79">
                  <c:v>0.10279478454166124</c:v>
                </c:pt>
                <c:pt idx="80">
                  <c:v>0.10707889733419007</c:v>
                </c:pt>
                <c:pt idx="81">
                  <c:v>0.08177186887260501</c:v>
                </c:pt>
                <c:pt idx="82">
                  <c:v>0.08177186887260501</c:v>
                </c:pt>
                <c:pt idx="83">
                  <c:v>0.08177186887260501</c:v>
                </c:pt>
                <c:pt idx="84">
                  <c:v>0.09370949447159882</c:v>
                </c:pt>
                <c:pt idx="85">
                  <c:v>0.07947941049510865</c:v>
                </c:pt>
                <c:pt idx="86">
                  <c:v>0.06925499839181981</c:v>
                </c:pt>
                <c:pt idx="87">
                  <c:v>0.08490644151790616</c:v>
                </c:pt>
                <c:pt idx="88">
                  <c:v>0.07642037478703911</c:v>
                </c:pt>
                <c:pt idx="89">
                  <c:v>0.07642037478703911</c:v>
                </c:pt>
                <c:pt idx="90">
                  <c:v>0.07642037478703911</c:v>
                </c:pt>
                <c:pt idx="91">
                  <c:v>0.08684388353610029</c:v>
                </c:pt>
                <c:pt idx="92">
                  <c:v>0.09768944498250298</c:v>
                </c:pt>
                <c:pt idx="93">
                  <c:v>0.09023147152818067</c:v>
                </c:pt>
                <c:pt idx="94">
                  <c:v>0.07275062376052266</c:v>
                </c:pt>
                <c:pt idx="95">
                  <c:v>7.839809498810801e-05</c:v>
                </c:pt>
                <c:pt idx="96">
                  <c:v>7.839809498810801e-05</c:v>
                </c:pt>
                <c:pt idx="97">
                  <c:v>7.839809498810801e-05</c:v>
                </c:pt>
                <c:pt idx="98">
                  <c:v>-0.01273546313461238</c:v>
                </c:pt>
                <c:pt idx="99">
                  <c:v>-0.007762296219135489</c:v>
                </c:pt>
                <c:pt idx="100">
                  <c:v>0.011177132151172664</c:v>
                </c:pt>
                <c:pt idx="101">
                  <c:v>0.010537454026919413</c:v>
                </c:pt>
                <c:pt idx="102">
                  <c:v>0.0030784159575190095</c:v>
                </c:pt>
                <c:pt idx="103">
                  <c:v>0.0030784159575190095</c:v>
                </c:pt>
                <c:pt idx="104">
                  <c:v>0.0030784159575190095</c:v>
                </c:pt>
                <c:pt idx="105">
                  <c:v>0.0035941800689416326</c:v>
                </c:pt>
                <c:pt idx="106">
                  <c:v>0.01502889936250873</c:v>
                </c:pt>
                <c:pt idx="107">
                  <c:v>0.024431479527879052</c:v>
                </c:pt>
                <c:pt idx="108">
                  <c:v>0.034921938778411876</c:v>
                </c:pt>
                <c:pt idx="109">
                  <c:v>0.036394027154015296</c:v>
                </c:pt>
                <c:pt idx="110">
                  <c:v>0.036394027154015296</c:v>
                </c:pt>
                <c:pt idx="111">
                  <c:v>0.036394027154015296</c:v>
                </c:pt>
                <c:pt idx="112">
                  <c:v>0.045638158517190996</c:v>
                </c:pt>
                <c:pt idx="113">
                  <c:v>0.04859218970642476</c:v>
                </c:pt>
                <c:pt idx="114">
                  <c:v>0.050090824160621716</c:v>
                </c:pt>
                <c:pt idx="115">
                  <c:v>0.05091895983736938</c:v>
                </c:pt>
                <c:pt idx="116">
                  <c:v>0.050291097173839505</c:v>
                </c:pt>
                <c:pt idx="117">
                  <c:v>0.050291097173839505</c:v>
                </c:pt>
                <c:pt idx="118">
                  <c:v>0.050291097173839505</c:v>
                </c:pt>
                <c:pt idx="119">
                  <c:v>0.05600304134673162</c:v>
                </c:pt>
                <c:pt idx="120">
                  <c:v>0.05580070613970811</c:v>
                </c:pt>
                <c:pt idx="121">
                  <c:v>0.04135617826961524</c:v>
                </c:pt>
                <c:pt idx="122">
                  <c:v>0.042413331262659115</c:v>
                </c:pt>
                <c:pt idx="123">
                  <c:v>0.04256315834451896</c:v>
                </c:pt>
                <c:pt idx="124">
                  <c:v>0.04256315834451896</c:v>
                </c:pt>
                <c:pt idx="125">
                  <c:v>0.04256315834451896</c:v>
                </c:pt>
                <c:pt idx="126">
                  <c:v>0.03933831530952858</c:v>
                </c:pt>
                <c:pt idx="127">
                  <c:v>0.06042004326331085</c:v>
                </c:pt>
                <c:pt idx="128">
                  <c:v>0.06666486750159639</c:v>
                </c:pt>
                <c:pt idx="129">
                  <c:v>0.05638140884786136</c:v>
                </c:pt>
                <c:pt idx="130">
                  <c:v>0.06671532022432913</c:v>
                </c:pt>
                <c:pt idx="131">
                  <c:v>0.06671532022432913</c:v>
                </c:pt>
                <c:pt idx="132">
                  <c:v>0.06671532022432913</c:v>
                </c:pt>
                <c:pt idx="133">
                  <c:v>0.0659834365197054</c:v>
                </c:pt>
                <c:pt idx="134">
                  <c:v>0.05476266567330401</c:v>
                </c:pt>
                <c:pt idx="135">
                  <c:v>0.04927658771925958</c:v>
                </c:pt>
                <c:pt idx="136">
                  <c:v>0.04397802391894934</c:v>
                </c:pt>
                <c:pt idx="137">
                  <c:v>0.033780809201572115</c:v>
                </c:pt>
                <c:pt idx="138">
                  <c:v>0.033780809201572115</c:v>
                </c:pt>
                <c:pt idx="139">
                  <c:v>0.033780809201572115</c:v>
                </c:pt>
                <c:pt idx="140">
                  <c:v>0.03513910041418322</c:v>
                </c:pt>
                <c:pt idx="141">
                  <c:v>0.028798772045691035</c:v>
                </c:pt>
                <c:pt idx="142">
                  <c:v>0.029483185034335335</c:v>
                </c:pt>
                <c:pt idx="143">
                  <c:v>0.026952087345881948</c:v>
                </c:pt>
                <c:pt idx="144">
                  <c:v>0.0534992140200754</c:v>
                </c:pt>
                <c:pt idx="145">
                  <c:v>0.0534992140200754</c:v>
                </c:pt>
                <c:pt idx="146">
                  <c:v>0.0534992140200754</c:v>
                </c:pt>
                <c:pt idx="147">
                  <c:v>0.08322512978604824</c:v>
                </c:pt>
                <c:pt idx="148">
                  <c:v>0.09794068024430636</c:v>
                </c:pt>
                <c:pt idx="149">
                  <c:v>0.1049219547773268</c:v>
                </c:pt>
                <c:pt idx="150">
                  <c:v>0.0881661797154425</c:v>
                </c:pt>
                <c:pt idx="151">
                  <c:v>0.09946932374930562</c:v>
                </c:pt>
                <c:pt idx="152">
                  <c:v>0.09946932374930562</c:v>
                </c:pt>
                <c:pt idx="153">
                  <c:v>0.09946932374930562</c:v>
                </c:pt>
                <c:pt idx="154">
                  <c:v>0.10235689014419136</c:v>
                </c:pt>
                <c:pt idx="155">
                  <c:v>0.1133595866570496</c:v>
                </c:pt>
                <c:pt idx="156">
                  <c:v>0.13821365436087762</c:v>
                </c:pt>
                <c:pt idx="157">
                  <c:v>0.12176217398772304</c:v>
                </c:pt>
                <c:pt idx="158">
                  <c:v>0.10989806522249146</c:v>
                </c:pt>
                <c:pt idx="159">
                  <c:v>0.10989806522249146</c:v>
                </c:pt>
                <c:pt idx="160">
                  <c:v>0.10989806522249146</c:v>
                </c:pt>
                <c:pt idx="161">
                  <c:v>0.11473465999409438</c:v>
                </c:pt>
                <c:pt idx="162">
                  <c:v>0.13140020842970013</c:v>
                </c:pt>
                <c:pt idx="163">
                  <c:v>0.10128562745596548</c:v>
                </c:pt>
                <c:pt idx="164">
                  <c:v>0.06109913102853359</c:v>
                </c:pt>
                <c:pt idx="165">
                  <c:v>0.02732921082498807</c:v>
                </c:pt>
                <c:pt idx="166">
                  <c:v>0.02732921082498807</c:v>
                </c:pt>
                <c:pt idx="167">
                  <c:v>0.02732921082498807</c:v>
                </c:pt>
                <c:pt idx="168">
                  <c:v>0.02355896744186592</c:v>
                </c:pt>
                <c:pt idx="169">
                  <c:v>0.017427500638135696</c:v>
                </c:pt>
                <c:pt idx="170">
                  <c:v>0.009194884726582586</c:v>
                </c:pt>
                <c:pt idx="171">
                  <c:v>0.014342009364962216</c:v>
                </c:pt>
                <c:pt idx="172">
                  <c:v>0.04038763663960365</c:v>
                </c:pt>
                <c:pt idx="173">
                  <c:v>0.04038763663960365</c:v>
                </c:pt>
                <c:pt idx="174">
                  <c:v>0.04038763663960365</c:v>
                </c:pt>
                <c:pt idx="175">
                  <c:v>0.026435802148852883</c:v>
                </c:pt>
                <c:pt idx="176">
                  <c:v>0.01807839019058255</c:v>
                </c:pt>
                <c:pt idx="177">
                  <c:v>0.035436485221530756</c:v>
                </c:pt>
                <c:pt idx="178">
                  <c:v>0.026683712814000282</c:v>
                </c:pt>
                <c:pt idx="179">
                  <c:v>0.02021105056054573</c:v>
                </c:pt>
                <c:pt idx="180">
                  <c:v>0.02021105056054573</c:v>
                </c:pt>
                <c:pt idx="181">
                  <c:v>0.02021105056054573</c:v>
                </c:pt>
                <c:pt idx="182">
                  <c:v>-0.006721395448643586</c:v>
                </c:pt>
                <c:pt idx="183">
                  <c:v>-0.009021518015219887</c:v>
                </c:pt>
                <c:pt idx="184">
                  <c:v>0.020171974062726417</c:v>
                </c:pt>
                <c:pt idx="185">
                  <c:v>0.017330499059663884</c:v>
                </c:pt>
                <c:pt idx="186">
                  <c:v>0.006863281306248137</c:v>
                </c:pt>
                <c:pt idx="187">
                  <c:v>0.006863281306248137</c:v>
                </c:pt>
                <c:pt idx="188">
                  <c:v>0.006863281306248137</c:v>
                </c:pt>
                <c:pt idx="189">
                  <c:v>0.0016793466312656768</c:v>
                </c:pt>
                <c:pt idx="190">
                  <c:v>0.018589414720440622</c:v>
                </c:pt>
                <c:pt idx="191">
                  <c:v>0.02250471689318978</c:v>
                </c:pt>
                <c:pt idx="192">
                  <c:v>0.03475655193785232</c:v>
                </c:pt>
                <c:pt idx="193">
                  <c:v>0.04722244050519997</c:v>
                </c:pt>
                <c:pt idx="194">
                  <c:v>0.04722244050519997</c:v>
                </c:pt>
                <c:pt idx="195">
                  <c:v>0.04722244050519997</c:v>
                </c:pt>
                <c:pt idx="196">
                  <c:v>0.04068550339165866</c:v>
                </c:pt>
                <c:pt idx="197">
                  <c:v>0.05258262793763957</c:v>
                </c:pt>
                <c:pt idx="198">
                  <c:v>0.036543491579591914</c:v>
                </c:pt>
                <c:pt idx="199">
                  <c:v>0.05688033773233503</c:v>
                </c:pt>
                <c:pt idx="200">
                  <c:v>0.06147535359868228</c:v>
                </c:pt>
                <c:pt idx="201">
                  <c:v>0.06147535359868228</c:v>
                </c:pt>
                <c:pt idx="202">
                  <c:v>0.06147535359868228</c:v>
                </c:pt>
                <c:pt idx="203">
                  <c:v>0.06956889987754233</c:v>
                </c:pt>
                <c:pt idx="204">
                  <c:v>0.08778157553152743</c:v>
                </c:pt>
                <c:pt idx="205">
                  <c:v>0.08737977181879941</c:v>
                </c:pt>
                <c:pt idx="206">
                  <c:v>0.06898625063945296</c:v>
                </c:pt>
                <c:pt idx="207">
                  <c:v>0.0794818409432465</c:v>
                </c:pt>
                <c:pt idx="208">
                  <c:v>0.0794818409432465</c:v>
                </c:pt>
                <c:pt idx="209">
                  <c:v>0.0794818409432465</c:v>
                </c:pt>
                <c:pt idx="210">
                  <c:v>0.08529312525426369</c:v>
                </c:pt>
                <c:pt idx="211">
                  <c:v>0.04661516676413613</c:v>
                </c:pt>
                <c:pt idx="212">
                  <c:v>0.03467911503825438</c:v>
                </c:pt>
                <c:pt idx="213">
                  <c:v>0.03630722323777058</c:v>
                </c:pt>
                <c:pt idx="214">
                  <c:v>0.03456459053927352</c:v>
                </c:pt>
                <c:pt idx="215">
                  <c:v>0.03456459053927352</c:v>
                </c:pt>
                <c:pt idx="216">
                  <c:v>0.03456459053927352</c:v>
                </c:pt>
                <c:pt idx="217">
                  <c:v>0.018841817116103776</c:v>
                </c:pt>
                <c:pt idx="218">
                  <c:v>0.012272431230744285</c:v>
                </c:pt>
                <c:pt idx="219">
                  <c:v>0.019236328510113143</c:v>
                </c:pt>
                <c:pt idx="220">
                  <c:v>0.007325497264453196</c:v>
                </c:pt>
                <c:pt idx="221">
                  <c:v>0.00728720356103163</c:v>
                </c:pt>
                <c:pt idx="222">
                  <c:v>0.00728720356103163</c:v>
                </c:pt>
                <c:pt idx="223">
                  <c:v>0.00728720356103163</c:v>
                </c:pt>
                <c:pt idx="224">
                  <c:v>0.014218542816146096</c:v>
                </c:pt>
                <c:pt idx="225">
                  <c:v>0.02586676876498828</c:v>
                </c:pt>
                <c:pt idx="226">
                  <c:v>0.018816323301147575</c:v>
                </c:pt>
                <c:pt idx="227">
                  <c:v>0.0015423974532002838</c:v>
                </c:pt>
                <c:pt idx="228">
                  <c:v>-0.013055025727274683</c:v>
                </c:pt>
                <c:pt idx="229">
                  <c:v>-0.013055025727274683</c:v>
                </c:pt>
                <c:pt idx="230">
                  <c:v>-0.013055025727274683</c:v>
                </c:pt>
                <c:pt idx="231">
                  <c:v>-0.04970193913539067</c:v>
                </c:pt>
                <c:pt idx="232">
                  <c:v>-0.0729578211412727</c:v>
                </c:pt>
                <c:pt idx="233">
                  <c:v>-0.06436975318596294</c:v>
                </c:pt>
                <c:pt idx="234">
                  <c:v>-0.04359729560744274</c:v>
                </c:pt>
                <c:pt idx="235">
                  <c:v>-0.06978043016090452</c:v>
                </c:pt>
                <c:pt idx="236">
                  <c:v>-0.06978043016090452</c:v>
                </c:pt>
                <c:pt idx="237">
                  <c:v>-0.06978043016090452</c:v>
                </c:pt>
                <c:pt idx="238">
                  <c:v>-0.06640416717550335</c:v>
                </c:pt>
                <c:pt idx="239">
                  <c:v>-0.0599974672052096</c:v>
                </c:pt>
                <c:pt idx="240">
                  <c:v>-0.04591691597296099</c:v>
                </c:pt>
                <c:pt idx="241">
                  <c:v>-0.07436621293793477</c:v>
                </c:pt>
                <c:pt idx="242">
                  <c:v>-0.08061510786037618</c:v>
                </c:pt>
                <c:pt idx="243">
                  <c:v>-0.08061510786037618</c:v>
                </c:pt>
                <c:pt idx="244">
                  <c:v>-0.08061510786037618</c:v>
                </c:pt>
                <c:pt idx="245">
                  <c:v>-0.11110184264628709</c:v>
                </c:pt>
                <c:pt idx="246">
                  <c:v>-0.10578107548283089</c:v>
                </c:pt>
                <c:pt idx="247">
                  <c:v>-0.11590276651911324</c:v>
                </c:pt>
                <c:pt idx="248">
                  <c:v>-0.11818062414395669</c:v>
                </c:pt>
                <c:pt idx="249">
                  <c:v>-0.09359882134826769</c:v>
                </c:pt>
                <c:pt idx="250">
                  <c:v>-0.09359882134826769</c:v>
                </c:pt>
                <c:pt idx="251">
                  <c:v>-0.09359882134826769</c:v>
                </c:pt>
                <c:pt idx="252">
                  <c:v>-0.10331972231060638</c:v>
                </c:pt>
                <c:pt idx="253">
                  <c:v>-0.08015262405533097</c:v>
                </c:pt>
                <c:pt idx="254">
                  <c:v>-0.1130464036799731</c:v>
                </c:pt>
                <c:pt idx="255">
                  <c:v>-0.11022512549252317</c:v>
                </c:pt>
                <c:pt idx="256">
                  <c:v>-0.10726098157286046</c:v>
                </c:pt>
                <c:pt idx="257">
                  <c:v>-0.10726098157286046</c:v>
                </c:pt>
                <c:pt idx="258">
                  <c:v>-0.10726098157286046</c:v>
                </c:pt>
                <c:pt idx="259">
                  <c:v>-0.09206947899325113</c:v>
                </c:pt>
                <c:pt idx="260">
                  <c:v>-0.09547263682516627</c:v>
                </c:pt>
                <c:pt idx="261">
                  <c:v>-0.08745627557534519</c:v>
                </c:pt>
                <c:pt idx="262">
                  <c:v>-0.07152110881311169</c:v>
                </c:pt>
                <c:pt idx="263">
                  <c:v>-0.05082746411592243</c:v>
                </c:pt>
                <c:pt idx="264">
                  <c:v>-0.05082746411592243</c:v>
                </c:pt>
                <c:pt idx="265">
                  <c:v>-0.05082746411592243</c:v>
                </c:pt>
                <c:pt idx="266">
                  <c:v>-0.05054327449993978</c:v>
                </c:pt>
                <c:pt idx="267">
                  <c:v>-0.05460302937862915</c:v>
                </c:pt>
                <c:pt idx="268">
                  <c:v>-0.0599572646429789</c:v>
                </c:pt>
                <c:pt idx="269">
                  <c:v>-0.039700808103267704</c:v>
                </c:pt>
                <c:pt idx="270">
                  <c:v>-0.0612938705998235</c:v>
                </c:pt>
                <c:pt idx="271">
                  <c:v>-0.0612938705998235</c:v>
                </c:pt>
                <c:pt idx="272">
                  <c:v>-0.0612938705998235</c:v>
                </c:pt>
                <c:pt idx="273">
                  <c:v>-0.06539442741338164</c:v>
                </c:pt>
                <c:pt idx="274">
                  <c:v>-0.06563563112052628</c:v>
                </c:pt>
                <c:pt idx="275">
                  <c:v>-0.07848312946753355</c:v>
                </c:pt>
                <c:pt idx="276">
                  <c:v>-0.09767989013176448</c:v>
                </c:pt>
                <c:pt idx="277">
                  <c:v>-0.11690483837122378</c:v>
                </c:pt>
                <c:pt idx="278">
                  <c:v>-0.11690483837122378</c:v>
                </c:pt>
                <c:pt idx="279">
                  <c:v>-0.11690483837122378</c:v>
                </c:pt>
                <c:pt idx="280">
                  <c:v>-0.14480424203670783</c:v>
                </c:pt>
                <c:pt idx="281">
                  <c:v>-0.15555185652488646</c:v>
                </c:pt>
                <c:pt idx="282">
                  <c:v>-0.14196904526733867</c:v>
                </c:pt>
                <c:pt idx="283">
                  <c:v>-0.16590445368787532</c:v>
                </c:pt>
                <c:pt idx="284">
                  <c:v>-0.1656952680053374</c:v>
                </c:pt>
                <c:pt idx="285">
                  <c:v>-0.1656952680053374</c:v>
                </c:pt>
                <c:pt idx="286">
                  <c:v>-0.1656952680053374</c:v>
                </c:pt>
                <c:pt idx="287">
                  <c:v>-0.16190545751139285</c:v>
                </c:pt>
                <c:pt idx="288">
                  <c:v>-0.14557562321515227</c:v>
                </c:pt>
                <c:pt idx="289">
                  <c:v>-0.1493192328715941</c:v>
                </c:pt>
                <c:pt idx="290">
                  <c:v>-0.14200735812076837</c:v>
                </c:pt>
                <c:pt idx="291">
                  <c:v>-0.11595974898214234</c:v>
                </c:pt>
                <c:pt idx="292">
                  <c:v>-0.11595974898214234</c:v>
                </c:pt>
                <c:pt idx="293">
                  <c:v>-0.11595974898214234</c:v>
                </c:pt>
                <c:pt idx="294">
                  <c:v>-0.11741082803561576</c:v>
                </c:pt>
                <c:pt idx="295">
                  <c:v>-0.1290647808738956</c:v>
                </c:pt>
                <c:pt idx="296">
                  <c:v>-0.1302167991367209</c:v>
                </c:pt>
                <c:pt idx="297">
                  <c:v>-0.13649955319764995</c:v>
                </c:pt>
                <c:pt idx="298">
                  <c:v>-0.14186117740919835</c:v>
                </c:pt>
                <c:pt idx="299">
                  <c:v>-0.14186117740919835</c:v>
                </c:pt>
                <c:pt idx="300">
                  <c:v>-0.14186117740919835</c:v>
                </c:pt>
                <c:pt idx="301">
                  <c:v>-0.15309120525691566</c:v>
                </c:pt>
                <c:pt idx="302">
                  <c:v>-0.16237379805355345</c:v>
                </c:pt>
                <c:pt idx="303">
                  <c:v>-0.16117960525587127</c:v>
                </c:pt>
                <c:pt idx="304">
                  <c:v>-0.16177607814175787</c:v>
                </c:pt>
                <c:pt idx="305">
                  <c:v>-0.16135419426644249</c:v>
                </c:pt>
                <c:pt idx="306">
                  <c:v>-0.16135419426644249</c:v>
                </c:pt>
                <c:pt idx="307">
                  <c:v>-0.16135419426644249</c:v>
                </c:pt>
                <c:pt idx="308">
                  <c:v>-0.17689839705213828</c:v>
                </c:pt>
                <c:pt idx="309">
                  <c:v>-0.176768212425094</c:v>
                </c:pt>
                <c:pt idx="310">
                  <c:v>-0.1796238639695148</c:v>
                </c:pt>
                <c:pt idx="311">
                  <c:v>-0.184686965183542</c:v>
                </c:pt>
                <c:pt idx="312">
                  <c:v>-0.1689728353623895</c:v>
                </c:pt>
                <c:pt idx="313">
                  <c:v>-0.1689728353623895</c:v>
                </c:pt>
                <c:pt idx="314">
                  <c:v>-0.1689728353623895</c:v>
                </c:pt>
                <c:pt idx="315">
                  <c:v>-0.17187422703381416</c:v>
                </c:pt>
                <c:pt idx="316">
                  <c:v>-0.14955796677182798</c:v>
                </c:pt>
                <c:pt idx="317">
                  <c:v>-0.1466634243297521</c:v>
                </c:pt>
                <c:pt idx="318">
                  <c:v>-0.13769501909426296</c:v>
                </c:pt>
                <c:pt idx="319">
                  <c:v>-0.14316049320974022</c:v>
                </c:pt>
                <c:pt idx="320">
                  <c:v>-0.14316049320974022</c:v>
                </c:pt>
                <c:pt idx="321">
                  <c:v>-0.14316049320974022</c:v>
                </c:pt>
                <c:pt idx="322">
                  <c:v>-0.14373696870020813</c:v>
                </c:pt>
                <c:pt idx="323">
                  <c:v>-0.1585258781396952</c:v>
                </c:pt>
                <c:pt idx="324">
                  <c:v>-0.11260568316176867</c:v>
                </c:pt>
                <c:pt idx="325">
                  <c:v>-0.10239690448520478</c:v>
                </c:pt>
                <c:pt idx="326">
                  <c:v>-0.1181308478806039</c:v>
                </c:pt>
                <c:pt idx="327">
                  <c:v>-0.1181308478806039</c:v>
                </c:pt>
                <c:pt idx="328">
                  <c:v>-0.1181308478806039</c:v>
                </c:pt>
                <c:pt idx="329">
                  <c:v>-0.11918893772739358</c:v>
                </c:pt>
                <c:pt idx="330">
                  <c:v>-0.12370841174503422</c:v>
                </c:pt>
                <c:pt idx="331">
                  <c:v>-0.13650518843059</c:v>
                </c:pt>
                <c:pt idx="332">
                  <c:v>-0.13186394340905416</c:v>
                </c:pt>
                <c:pt idx="333">
                  <c:v>-0.13281364685442865</c:v>
                </c:pt>
                <c:pt idx="334">
                  <c:v>-0.13281364685442865</c:v>
                </c:pt>
                <c:pt idx="335">
                  <c:v>-0.13281364685442865</c:v>
                </c:pt>
                <c:pt idx="336">
                  <c:v>-0.12486688123057543</c:v>
                </c:pt>
                <c:pt idx="337">
                  <c:v>-0.1402402733357535</c:v>
                </c:pt>
                <c:pt idx="338">
                  <c:v>-0.11706892279431036</c:v>
                </c:pt>
                <c:pt idx="339">
                  <c:v>-0.11900223476206162</c:v>
                </c:pt>
                <c:pt idx="340">
                  <c:v>-0.10331378629553667</c:v>
                </c:pt>
                <c:pt idx="341">
                  <c:v>-0.10331378629553667</c:v>
                </c:pt>
                <c:pt idx="342">
                  <c:v>-0.10331378629553667</c:v>
                </c:pt>
                <c:pt idx="343">
                  <c:v>-0.10291372943730648</c:v>
                </c:pt>
                <c:pt idx="344">
                  <c:v>-0.10195413383867669</c:v>
                </c:pt>
                <c:pt idx="345">
                  <c:v>-0.1086110459911076</c:v>
                </c:pt>
                <c:pt idx="346">
                  <c:v>-0.10794226740028678</c:v>
                </c:pt>
                <c:pt idx="347">
                  <c:v>-0.12006219015805386</c:v>
                </c:pt>
                <c:pt idx="348">
                  <c:v>-0.12006219015805386</c:v>
                </c:pt>
                <c:pt idx="349">
                  <c:v>-0.12006219015805386</c:v>
                </c:pt>
                <c:pt idx="350">
                  <c:v>-0.13521622857938465</c:v>
                </c:pt>
                <c:pt idx="351">
                  <c:v>-0.13644561842738612</c:v>
                </c:pt>
                <c:pt idx="352">
                  <c:v>-0.13211886251941884</c:v>
                </c:pt>
                <c:pt idx="353">
                  <c:v>-0.12129959940450041</c:v>
                </c:pt>
                <c:pt idx="354">
                  <c:v>-0.14769622813023098</c:v>
                </c:pt>
                <c:pt idx="355">
                  <c:v>-0.14769622813023098</c:v>
                </c:pt>
                <c:pt idx="356">
                  <c:v>-0.14769622813023098</c:v>
                </c:pt>
                <c:pt idx="357">
                  <c:v>-0.14748490549281423</c:v>
                </c:pt>
                <c:pt idx="358">
                  <c:v>-0.1653223791533066</c:v>
                </c:pt>
                <c:pt idx="359">
                  <c:v>-0.1759327745310204</c:v>
                </c:pt>
                <c:pt idx="360">
                  <c:v>-0.18555035154411104</c:v>
                </c:pt>
                <c:pt idx="361">
                  <c:v>-0.21839645041841127</c:v>
                </c:pt>
                <c:pt idx="362">
                  <c:v>-0.21839645041841127</c:v>
                </c:pt>
                <c:pt idx="363">
                  <c:v>-0.21839645041841127</c:v>
                </c:pt>
                <c:pt idx="364">
                  <c:v>-0.21571269380219438</c:v>
                </c:pt>
                <c:pt idx="365">
                  <c:v>-0.21922877422713694</c:v>
                </c:pt>
                <c:pt idx="366">
                  <c:v>-0.20679862211643063</c:v>
                </c:pt>
                <c:pt idx="367">
                  <c:v>-0.20100927229870647</c:v>
                </c:pt>
                <c:pt idx="368">
                  <c:v>-0.18410535738118783</c:v>
                </c:pt>
                <c:pt idx="369">
                  <c:v>-0.18410535738118783</c:v>
                </c:pt>
                <c:pt idx="370">
                  <c:v>-0.18410535738118783</c:v>
                </c:pt>
                <c:pt idx="371">
                  <c:v>-0.17887805382242938</c:v>
                </c:pt>
                <c:pt idx="372">
                  <c:v>-0.20500233510844945</c:v>
                </c:pt>
                <c:pt idx="373">
                  <c:v>-0.20102688622247944</c:v>
                </c:pt>
                <c:pt idx="374">
                  <c:v>-0.20772918807452911</c:v>
                </c:pt>
                <c:pt idx="375">
                  <c:v>-0.21401464897465117</c:v>
                </c:pt>
                <c:pt idx="376">
                  <c:v>-0.21401464897465117</c:v>
                </c:pt>
                <c:pt idx="377">
                  <c:v>-0.21401464897465117</c:v>
                </c:pt>
                <c:pt idx="378">
                  <c:v>-0.2253861617412789</c:v>
                </c:pt>
                <c:pt idx="379">
                  <c:v>-0.21497193034716855</c:v>
                </c:pt>
                <c:pt idx="380">
                  <c:v>-0.2200884869407782</c:v>
                </c:pt>
                <c:pt idx="381">
                  <c:v>-0.23125790071511865</c:v>
                </c:pt>
                <c:pt idx="382">
                  <c:v>-0.2487022605514767</c:v>
                </c:pt>
                <c:pt idx="383">
                  <c:v>-0.2487022605514767</c:v>
                </c:pt>
                <c:pt idx="384">
                  <c:v>-0.2487022605514767</c:v>
                </c:pt>
                <c:pt idx="385">
                  <c:v>-0.2367062367311643</c:v>
                </c:pt>
                <c:pt idx="386">
                  <c:v>-0.257427212154442</c:v>
                </c:pt>
                <c:pt idx="387">
                  <c:v>-0.24169808087775468</c:v>
                </c:pt>
                <c:pt idx="388">
                  <c:v>-0.25356573022416373</c:v>
                </c:pt>
                <c:pt idx="389">
                  <c:v>-0.261780039741079</c:v>
                </c:pt>
                <c:pt idx="390">
                  <c:v>-0.261780039741079</c:v>
                </c:pt>
                <c:pt idx="391">
                  <c:v>-0.261780039741079</c:v>
                </c:pt>
                <c:pt idx="392">
                  <c:v>-0.24400874219529467</c:v>
                </c:pt>
                <c:pt idx="393">
                  <c:v>-0.2213244056521082</c:v>
                </c:pt>
                <c:pt idx="394">
                  <c:v>-0.22177113044314578</c:v>
                </c:pt>
                <c:pt idx="395">
                  <c:v>-0.2283217744597843</c:v>
                </c:pt>
                <c:pt idx="396">
                  <c:v>-0.24846074333274148</c:v>
                </c:pt>
                <c:pt idx="397">
                  <c:v>-0.24846074333274148</c:v>
                </c:pt>
                <c:pt idx="398">
                  <c:v>-0.24846074333274148</c:v>
                </c:pt>
                <c:pt idx="399">
                  <c:v>-0.24976478343634567</c:v>
                </c:pt>
                <c:pt idx="400">
                  <c:v>-0.26049057990557</c:v>
                </c:pt>
                <c:pt idx="401">
                  <c:v>-0.2621772180572144</c:v>
                </c:pt>
                <c:pt idx="402">
                  <c:v>-0.2434067399745209</c:v>
                </c:pt>
                <c:pt idx="403">
                  <c:v>-0.2579662141380624</c:v>
                </c:pt>
                <c:pt idx="404">
                  <c:v>-0.2579662141380624</c:v>
                </c:pt>
                <c:pt idx="405">
                  <c:v>-0.2579662141380624</c:v>
                </c:pt>
                <c:pt idx="406">
                  <c:v>-0.23861931756785704</c:v>
                </c:pt>
                <c:pt idx="407">
                  <c:v>-0.22998044383610994</c:v>
                </c:pt>
                <c:pt idx="408">
                  <c:v>-0.238354909257547</c:v>
                </c:pt>
                <c:pt idx="409">
                  <c:v>-0.24097488878964413</c:v>
                </c:pt>
                <c:pt idx="410">
                  <c:v>-0.2246796837400128</c:v>
                </c:pt>
                <c:pt idx="411">
                  <c:v>-0.2246796837400128</c:v>
                </c:pt>
                <c:pt idx="412">
                  <c:v>-0.2246796837400128</c:v>
                </c:pt>
                <c:pt idx="413">
                  <c:v>-0.22970466842290038</c:v>
                </c:pt>
                <c:pt idx="414">
                  <c:v>-0.20955658275123112</c:v>
                </c:pt>
                <c:pt idx="415">
                  <c:v>-0.20243402940556066</c:v>
                </c:pt>
                <c:pt idx="416">
                  <c:v>-0.20785410017928574</c:v>
                </c:pt>
                <c:pt idx="417">
                  <c:v>-0.19216768626946656</c:v>
                </c:pt>
                <c:pt idx="418">
                  <c:v>-0.19216768626946656</c:v>
                </c:pt>
                <c:pt idx="419">
                  <c:v>-0.19216768626946656</c:v>
                </c:pt>
                <c:pt idx="420">
                  <c:v>-0.19626453088670515</c:v>
                </c:pt>
                <c:pt idx="421">
                  <c:v>-0.18726545644523962</c:v>
                </c:pt>
                <c:pt idx="422">
                  <c:v>-0.2112421616124881</c:v>
                </c:pt>
                <c:pt idx="423">
                  <c:v>-0.21595825495912746</c:v>
                </c:pt>
                <c:pt idx="424">
                  <c:v>-0.19863090171358821</c:v>
                </c:pt>
                <c:pt idx="425">
                  <c:v>-0.19863090171358821</c:v>
                </c:pt>
                <c:pt idx="426">
                  <c:v>-0.19863090171358821</c:v>
                </c:pt>
                <c:pt idx="427">
                  <c:v>-0.1994031752213582</c:v>
                </c:pt>
                <c:pt idx="428">
                  <c:v>-0.18410395896184584</c:v>
                </c:pt>
                <c:pt idx="429">
                  <c:v>-0.19733237902219725</c:v>
                </c:pt>
                <c:pt idx="430">
                  <c:v>-0.15429881298837267</c:v>
                </c:pt>
                <c:pt idx="431">
                  <c:v>-0.13932895483984087</c:v>
                </c:pt>
                <c:pt idx="432">
                  <c:v>-0.13932895483984087</c:v>
                </c:pt>
                <c:pt idx="433">
                  <c:v>-0.13932895483984087</c:v>
                </c:pt>
                <c:pt idx="434">
                  <c:v>-0.15133869347525786</c:v>
                </c:pt>
                <c:pt idx="435">
                  <c:v>-0.13346872485551187</c:v>
                </c:pt>
                <c:pt idx="436">
                  <c:v>-0.13727364094028793</c:v>
                </c:pt>
                <c:pt idx="437">
                  <c:v>-0.13606080688973154</c:v>
                </c:pt>
                <c:pt idx="438">
                  <c:v>-0.13107810070397885</c:v>
                </c:pt>
                <c:pt idx="439">
                  <c:v>-0.13107810070397885</c:v>
                </c:pt>
                <c:pt idx="440">
                  <c:v>-0.13107810070397885</c:v>
                </c:pt>
                <c:pt idx="441">
                  <c:v>-0.13422840679424553</c:v>
                </c:pt>
                <c:pt idx="442">
                  <c:v>-0.12313107969402837</c:v>
                </c:pt>
                <c:pt idx="443">
                  <c:v>-0.11100275320859809</c:v>
                </c:pt>
                <c:pt idx="444">
                  <c:v>-0.10860207024333346</c:v>
                </c:pt>
                <c:pt idx="445">
                  <c:v>-0.10291156343004026</c:v>
                </c:pt>
                <c:pt idx="446">
                  <c:v>-0.10291156343004026</c:v>
                </c:pt>
                <c:pt idx="447">
                  <c:v>-0.10291156343004026</c:v>
                </c:pt>
                <c:pt idx="448">
                  <c:v>-0.11472179113649972</c:v>
                </c:pt>
                <c:pt idx="449">
                  <c:v>-0.10941062254983858</c:v>
                </c:pt>
                <c:pt idx="450">
                  <c:v>-0.08348437969208711</c:v>
                </c:pt>
                <c:pt idx="451">
                  <c:v>-0.07627250814218911</c:v>
                </c:pt>
                <c:pt idx="452">
                  <c:v>-0.07561567366204214</c:v>
                </c:pt>
                <c:pt idx="453">
                  <c:v>-0.07561567366204214</c:v>
                </c:pt>
                <c:pt idx="454">
                  <c:v>-0.07561567366204214</c:v>
                </c:pt>
                <c:pt idx="455">
                  <c:v>-0.0890518126730665</c:v>
                </c:pt>
                <c:pt idx="456">
                  <c:v>-0.09796388643164111</c:v>
                </c:pt>
                <c:pt idx="457">
                  <c:v>-0.09509022127221545</c:v>
                </c:pt>
                <c:pt idx="458">
                  <c:v>-0.08760058029556128</c:v>
                </c:pt>
                <c:pt idx="459">
                  <c:v>-0.08952276944683357</c:v>
                </c:pt>
                <c:pt idx="460">
                  <c:v>-0.08952276944683357</c:v>
                </c:pt>
                <c:pt idx="461">
                  <c:v>-0.08952276944683357</c:v>
                </c:pt>
                <c:pt idx="462">
                  <c:v>-0.07744020309237154</c:v>
                </c:pt>
                <c:pt idx="463">
                  <c:v>-0.06772701019129823</c:v>
                </c:pt>
                <c:pt idx="464">
                  <c:v>-0.06745876060271094</c:v>
                </c:pt>
                <c:pt idx="465">
                  <c:v>-0.08766393994800525</c:v>
                </c:pt>
                <c:pt idx="466">
                  <c:v>-0.09447327148612028</c:v>
                </c:pt>
                <c:pt idx="467">
                  <c:v>-0.09447327148612028</c:v>
                </c:pt>
                <c:pt idx="468">
                  <c:v>-0.09447327148612028</c:v>
                </c:pt>
                <c:pt idx="469">
                  <c:v>-0.09196970778588642</c:v>
                </c:pt>
                <c:pt idx="470">
                  <c:v>-0.09111649981162717</c:v>
                </c:pt>
                <c:pt idx="471">
                  <c:v>-0.0743458395770783</c:v>
                </c:pt>
                <c:pt idx="472">
                  <c:v>-0.08487497630117513</c:v>
                </c:pt>
                <c:pt idx="473">
                  <c:v>-0.08071371185411458</c:v>
                </c:pt>
                <c:pt idx="474">
                  <c:v>-0.08071371185411458</c:v>
                </c:pt>
                <c:pt idx="475">
                  <c:v>-0.08071371185411458</c:v>
                </c:pt>
                <c:pt idx="476">
                  <c:v>-0.07681979173881537</c:v>
                </c:pt>
                <c:pt idx="477">
                  <c:v>-0.0774060711263932</c:v>
                </c:pt>
                <c:pt idx="478">
                  <c:v>-0.08568505797670345</c:v>
                </c:pt>
                <c:pt idx="479">
                  <c:v>-0.06844767717667322</c:v>
                </c:pt>
                <c:pt idx="480">
                  <c:v>-0.06980039145881278</c:v>
                </c:pt>
                <c:pt idx="481">
                  <c:v>-0.06980039145881278</c:v>
                </c:pt>
                <c:pt idx="482">
                  <c:v>-0.06980039145881278</c:v>
                </c:pt>
                <c:pt idx="483">
                  <c:v>-0.06814141119873673</c:v>
                </c:pt>
                <c:pt idx="484">
                  <c:v>-0.06969582308038957</c:v>
                </c:pt>
                <c:pt idx="485">
                  <c:v>-0.05617633764641039</c:v>
                </c:pt>
                <c:pt idx="486">
                  <c:v>-0.061916774194490376</c:v>
                </c:pt>
                <c:pt idx="487">
                  <c:v>-0.03866451147780414</c:v>
                </c:pt>
                <c:pt idx="488">
                  <c:v>-0.03866451147780414</c:v>
                </c:pt>
                <c:pt idx="489">
                  <c:v>-0.03866451147780414</c:v>
                </c:pt>
                <c:pt idx="490">
                  <c:v>-0.03465423345956342</c:v>
                </c:pt>
                <c:pt idx="491">
                  <c:v>-0.027051394084163682</c:v>
                </c:pt>
                <c:pt idx="492">
                  <c:v>-0.016364426147539968</c:v>
                </c:pt>
                <c:pt idx="493">
                  <c:v>-0.007581565690760628</c:v>
                </c:pt>
                <c:pt idx="494">
                  <c:v>-0.003678303187230725</c:v>
                </c:pt>
                <c:pt idx="495">
                  <c:v>-0.003678303187230725</c:v>
                </c:pt>
                <c:pt idx="496">
                  <c:v>-0.003678303187230725</c:v>
                </c:pt>
                <c:pt idx="497">
                  <c:v>-0.004280689499720047</c:v>
                </c:pt>
                <c:pt idx="498">
                  <c:v>0.0011714934683397793</c:v>
                </c:pt>
                <c:pt idx="499">
                  <c:v>-0.0059845105392948295</c:v>
                </c:pt>
                <c:pt idx="500">
                  <c:v>-0.011680921025158386</c:v>
                </c:pt>
                <c:pt idx="501">
                  <c:v>0.016567021607975407</c:v>
                </c:pt>
                <c:pt idx="502">
                  <c:v>0.016567021607975407</c:v>
                </c:pt>
                <c:pt idx="503">
                  <c:v>0.016567021607975407</c:v>
                </c:pt>
                <c:pt idx="504">
                  <c:v>0.017096598101508764</c:v>
                </c:pt>
                <c:pt idx="505">
                  <c:v>0.022385834463093834</c:v>
                </c:pt>
                <c:pt idx="506">
                  <c:v>0.030153892804180016</c:v>
                </c:pt>
                <c:pt idx="507">
                  <c:v>0.042043082719042335</c:v>
                </c:pt>
                <c:pt idx="508">
                  <c:v>0.04677512415913099</c:v>
                </c:pt>
                <c:pt idx="509">
                  <c:v>0.04677512415913099</c:v>
                </c:pt>
                <c:pt idx="510">
                  <c:v>0.04677512415913099</c:v>
                </c:pt>
                <c:pt idx="511">
                  <c:v>0.035964241297750554</c:v>
                </c:pt>
                <c:pt idx="512">
                  <c:v>0.0522318945209963</c:v>
                </c:pt>
                <c:pt idx="513">
                  <c:v>0.06321074904207435</c:v>
                </c:pt>
                <c:pt idx="514">
                  <c:v>0.07633730383141502</c:v>
                </c:pt>
                <c:pt idx="515">
                  <c:v>0.06372713331720026</c:v>
                </c:pt>
                <c:pt idx="516">
                  <c:v>0.06372713331720026</c:v>
                </c:pt>
                <c:pt idx="517">
                  <c:v>0.06372713331720026</c:v>
                </c:pt>
                <c:pt idx="518">
                  <c:v>0.06504021349194922</c:v>
                </c:pt>
                <c:pt idx="519">
                  <c:v>0.06717559388730354</c:v>
                </c:pt>
                <c:pt idx="520">
                  <c:v>0.06086963591132144</c:v>
                </c:pt>
                <c:pt idx="521">
                  <c:v>0.058778427542279355</c:v>
                </c:pt>
                <c:pt idx="522">
                  <c:v>0.05854172071238106</c:v>
                </c:pt>
                <c:pt idx="523">
                  <c:v>0.05854172071238106</c:v>
                </c:pt>
                <c:pt idx="524">
                  <c:v>0.05854172071238106</c:v>
                </c:pt>
                <c:pt idx="525">
                  <c:v>0.07078550481441614</c:v>
                </c:pt>
                <c:pt idx="526">
                  <c:v>0.0729981695345212</c:v>
                </c:pt>
                <c:pt idx="527">
                  <c:v>0.07724484650667263</c:v>
                </c:pt>
                <c:pt idx="528">
                  <c:v>0.0679562184092033</c:v>
                </c:pt>
                <c:pt idx="529">
                  <c:v>0.06716562647339552</c:v>
                </c:pt>
                <c:pt idx="530">
                  <c:v>0.06716562647339552</c:v>
                </c:pt>
                <c:pt idx="531">
                  <c:v>0.06716562647339552</c:v>
                </c:pt>
                <c:pt idx="532">
                  <c:v>0.06225619057711751</c:v>
                </c:pt>
                <c:pt idx="533">
                  <c:v>0.05406787914765121</c:v>
                </c:pt>
                <c:pt idx="534">
                  <c:v>0.053428455786726836</c:v>
                </c:pt>
                <c:pt idx="535">
                  <c:v>0.06126692064565664</c:v>
                </c:pt>
                <c:pt idx="536">
                  <c:v>0.05141278193594001</c:v>
                </c:pt>
                <c:pt idx="537">
                  <c:v>0.05141278193594001</c:v>
                </c:pt>
                <c:pt idx="538">
                  <c:v>0.05141278193594001</c:v>
                </c:pt>
                <c:pt idx="539">
                  <c:v>0.05992149769308974</c:v>
                </c:pt>
                <c:pt idx="540">
                  <c:v>0.05770388922121805</c:v>
                </c:pt>
                <c:pt idx="541">
                  <c:v>0.06112317947393486</c:v>
                </c:pt>
                <c:pt idx="542">
                  <c:v>0.07378924107709772</c:v>
                </c:pt>
                <c:pt idx="543">
                  <c:v>0.09298146954306108</c:v>
                </c:pt>
                <c:pt idx="544">
                  <c:v>0.09298146954306108</c:v>
                </c:pt>
                <c:pt idx="545">
                  <c:v>0.09298146954306108</c:v>
                </c:pt>
                <c:pt idx="546">
                  <c:v>0.09235382417253857</c:v>
                </c:pt>
                <c:pt idx="547">
                  <c:v>0.0828560281766888</c:v>
                </c:pt>
                <c:pt idx="548">
                  <c:v>0.08505544006487953</c:v>
                </c:pt>
                <c:pt idx="549">
                  <c:v>0.07026808090656189</c:v>
                </c:pt>
                <c:pt idx="550">
                  <c:v>0.056812419703961226</c:v>
                </c:pt>
                <c:pt idx="551">
                  <c:v>0.056812419703961226</c:v>
                </c:pt>
                <c:pt idx="552">
                  <c:v>0.056812419703961226</c:v>
                </c:pt>
                <c:pt idx="553">
                  <c:v>0.04987897507215577</c:v>
                </c:pt>
                <c:pt idx="554">
                  <c:v>0.07675703433332304</c:v>
                </c:pt>
                <c:pt idx="555">
                  <c:v>0.059864339463339356</c:v>
                </c:pt>
                <c:pt idx="556">
                  <c:v>0.0899376368706295</c:v>
                </c:pt>
                <c:pt idx="557">
                  <c:v>0.07755464106454824</c:v>
                </c:pt>
                <c:pt idx="558">
                  <c:v>0.07755464106454824</c:v>
                </c:pt>
                <c:pt idx="559">
                  <c:v>0.07755464106454824</c:v>
                </c:pt>
                <c:pt idx="560">
                  <c:v>0.07266280095269995</c:v>
                </c:pt>
                <c:pt idx="561">
                  <c:v>0.1076402662738909</c:v>
                </c:pt>
                <c:pt idx="562">
                  <c:v>0.10379581746414224</c:v>
                </c:pt>
                <c:pt idx="563">
                  <c:v>0.11345448927279134</c:v>
                </c:pt>
                <c:pt idx="564">
                  <c:v>0.12755435746776844</c:v>
                </c:pt>
                <c:pt idx="565">
                  <c:v>0.12755435746776844</c:v>
                </c:pt>
                <c:pt idx="566">
                  <c:v>0.12755435746776844</c:v>
                </c:pt>
                <c:pt idx="567">
                  <c:v>0.1359543674229413</c:v>
                </c:pt>
                <c:pt idx="568">
                  <c:v>0.14204113284115194</c:v>
                </c:pt>
                <c:pt idx="569">
                  <c:v>0.15337720026672064</c:v>
                </c:pt>
                <c:pt idx="570">
                  <c:v>0.1642227704121808</c:v>
                </c:pt>
                <c:pt idx="571">
                  <c:v>0.18466097370224555</c:v>
                </c:pt>
                <c:pt idx="572">
                  <c:v>0.18466097370224555</c:v>
                </c:pt>
                <c:pt idx="573">
                  <c:v>0.18466097370224555</c:v>
                </c:pt>
                <c:pt idx="574">
                  <c:v>0.17762305937158906</c:v>
                </c:pt>
                <c:pt idx="575">
                  <c:v>0.14606400423257937</c:v>
                </c:pt>
                <c:pt idx="576">
                  <c:v>0.12451065502056102</c:v>
                </c:pt>
                <c:pt idx="577">
                  <c:v>0.10348771209652763</c:v>
                </c:pt>
                <c:pt idx="578">
                  <c:v>0.09606081766626273</c:v>
                </c:pt>
                <c:pt idx="579">
                  <c:v>0.09606081766626273</c:v>
                </c:pt>
                <c:pt idx="580">
                  <c:v>0.09606081766626273</c:v>
                </c:pt>
                <c:pt idx="581">
                  <c:v>0.08879269231632447</c:v>
                </c:pt>
                <c:pt idx="582">
                  <c:v>0.09982953663654826</c:v>
                </c:pt>
                <c:pt idx="583">
                  <c:v>0.070852592747783</c:v>
                </c:pt>
                <c:pt idx="584">
                  <c:v>0.05089750975350249</c:v>
                </c:pt>
                <c:pt idx="585">
                  <c:v>0.03841263244455173</c:v>
                </c:pt>
                <c:pt idx="586">
                  <c:v>0.03841263244455173</c:v>
                </c:pt>
                <c:pt idx="587">
                  <c:v>0.03841263244455173</c:v>
                </c:pt>
                <c:pt idx="588">
                  <c:v>0.01743536093316056</c:v>
                </c:pt>
                <c:pt idx="589">
                  <c:v>-0.009226083566551746</c:v>
                </c:pt>
                <c:pt idx="590">
                  <c:v>-0.007699474252167993</c:v>
                </c:pt>
                <c:pt idx="591">
                  <c:v>-0.02962262024768958</c:v>
                </c:pt>
                <c:pt idx="592">
                  <c:v>-0.03213931069574061</c:v>
                </c:pt>
                <c:pt idx="593">
                  <c:v>-0.03213931069574061</c:v>
                </c:pt>
                <c:pt idx="594">
                  <c:v>-0.03213931069574061</c:v>
                </c:pt>
                <c:pt idx="595">
                  <c:v>-0.02376689196613424</c:v>
                </c:pt>
                <c:pt idx="596">
                  <c:v>-0.039694512329342846</c:v>
                </c:pt>
                <c:pt idx="597">
                  <c:v>-0.03325878762801826</c:v>
                </c:pt>
                <c:pt idx="598">
                  <c:v>-0.013686137839999502</c:v>
                </c:pt>
                <c:pt idx="599">
                  <c:v>-0.0029654865788083518</c:v>
                </c:pt>
                <c:pt idx="600">
                  <c:v>-0.0029654865788083518</c:v>
                </c:pt>
                <c:pt idx="601">
                  <c:v>-0.0029654865788083518</c:v>
                </c:pt>
                <c:pt idx="602">
                  <c:v>-0.016750251957083018</c:v>
                </c:pt>
                <c:pt idx="603">
                  <c:v>-0.01680691286321534</c:v>
                </c:pt>
                <c:pt idx="604">
                  <c:v>-0.019817833846078714</c:v>
                </c:pt>
                <c:pt idx="605">
                  <c:v>-0.01947296403679799</c:v>
                </c:pt>
                <c:pt idx="606">
                  <c:v>0.006910555088035064</c:v>
                </c:pt>
                <c:pt idx="607">
                  <c:v>0.006910555088035064</c:v>
                </c:pt>
                <c:pt idx="608">
                  <c:v>0.006910555088035064</c:v>
                </c:pt>
                <c:pt idx="609">
                  <c:v>0.007574457726186923</c:v>
                </c:pt>
                <c:pt idx="610">
                  <c:v>0.007607822729760683</c:v>
                </c:pt>
                <c:pt idx="611">
                  <c:v>0.01761239213157162</c:v>
                </c:pt>
                <c:pt idx="612">
                  <c:v>0.016709104716825962</c:v>
                </c:pt>
                <c:pt idx="613">
                  <c:v>0.015537286720973542</c:v>
                </c:pt>
                <c:pt idx="614">
                  <c:v>0.015537286720973542</c:v>
                </c:pt>
                <c:pt idx="615">
                  <c:v>0.015537286720973542</c:v>
                </c:pt>
                <c:pt idx="616">
                  <c:v>0.022497563953142397</c:v>
                </c:pt>
                <c:pt idx="617">
                  <c:v>0.03863783823424849</c:v>
                </c:pt>
                <c:pt idx="618">
                  <c:v>0.04810153550381613</c:v>
                </c:pt>
                <c:pt idx="619">
                  <c:v>0.0460014503256263</c:v>
                </c:pt>
                <c:pt idx="620">
                  <c:v>0.051422301382482605</c:v>
                </c:pt>
                <c:pt idx="621">
                  <c:v>0.051422301382482605</c:v>
                </c:pt>
                <c:pt idx="622">
                  <c:v>0.051422301382482605</c:v>
                </c:pt>
                <c:pt idx="623">
                  <c:v>0.0640405621500666</c:v>
                </c:pt>
                <c:pt idx="624">
                  <c:v>0.05256560808703492</c:v>
                </c:pt>
                <c:pt idx="625">
                  <c:v>0.055774743761157985</c:v>
                </c:pt>
                <c:pt idx="626">
                  <c:v>0.06184028602336178</c:v>
                </c:pt>
                <c:pt idx="627">
                  <c:v>0.08689385506257352</c:v>
                </c:pt>
                <c:pt idx="628">
                  <c:v>0.08689385506257352</c:v>
                </c:pt>
                <c:pt idx="629">
                  <c:v>0.08689385506257352</c:v>
                </c:pt>
                <c:pt idx="630">
                  <c:v>0.08488840209499249</c:v>
                </c:pt>
                <c:pt idx="631">
                  <c:v>0.08237853298110753</c:v>
                </c:pt>
                <c:pt idx="632">
                  <c:v>0.07611113596996133</c:v>
                </c:pt>
                <c:pt idx="633">
                  <c:v>0.09562227862745032</c:v>
                </c:pt>
                <c:pt idx="634">
                  <c:v>0.11337707289951893</c:v>
                </c:pt>
                <c:pt idx="635">
                  <c:v>0.11337707289951893</c:v>
                </c:pt>
                <c:pt idx="636">
                  <c:v>0.11337707289951893</c:v>
                </c:pt>
                <c:pt idx="637">
                  <c:v>0.1256782828299916</c:v>
                </c:pt>
                <c:pt idx="638">
                  <c:v>0.1328162546367826</c:v>
                </c:pt>
                <c:pt idx="639">
                  <c:v>0.13817818463329434</c:v>
                </c:pt>
                <c:pt idx="640">
                  <c:v>0.14506869042679504</c:v>
                </c:pt>
                <c:pt idx="641">
                  <c:v>0.1542287945440486</c:v>
                </c:pt>
                <c:pt idx="642">
                  <c:v>0.1542287945440486</c:v>
                </c:pt>
                <c:pt idx="643">
                  <c:v>0.1542287945440486</c:v>
                </c:pt>
                <c:pt idx="644">
                  <c:v>0.16224676957094308</c:v>
                </c:pt>
                <c:pt idx="645">
                  <c:v>0.1486083364393196</c:v>
                </c:pt>
                <c:pt idx="646">
                  <c:v>0.10776734575930913</c:v>
                </c:pt>
                <c:pt idx="647">
                  <c:v>0.12292272526132608</c:v>
                </c:pt>
                <c:pt idx="648">
                  <c:v>0.1365423602632545</c:v>
                </c:pt>
                <c:pt idx="649">
                  <c:v>0.1365423602632545</c:v>
                </c:pt>
                <c:pt idx="650">
                  <c:v>0.1365423602632545</c:v>
                </c:pt>
                <c:pt idx="651">
                  <c:v>0.13512010110299943</c:v>
                </c:pt>
                <c:pt idx="652">
                  <c:v>0.12816186697876542</c:v>
                </c:pt>
                <c:pt idx="653">
                  <c:v>0.012167726631332254</c:v>
                </c:pt>
                <c:pt idx="654">
                  <c:v>0.011236885894480908</c:v>
                </c:pt>
                <c:pt idx="655">
                  <c:v>0.015187827565917855</c:v>
                </c:pt>
                <c:pt idx="656">
                  <c:v>0.015187827565917855</c:v>
                </c:pt>
                <c:pt idx="657">
                  <c:v>0.015187827565917855</c:v>
                </c:pt>
                <c:pt idx="658">
                  <c:v>-0.02874365204066931</c:v>
                </c:pt>
                <c:pt idx="659">
                  <c:v>-0.01142132294954612</c:v>
                </c:pt>
                <c:pt idx="660">
                  <c:v>0.002369782593527159</c:v>
                </c:pt>
                <c:pt idx="661">
                  <c:v>0.004246334684548714</c:v>
                </c:pt>
                <c:pt idx="662">
                  <c:v>0.023520279444072756</c:v>
                </c:pt>
                <c:pt idx="663">
                  <c:v>0.023520279444072756</c:v>
                </c:pt>
                <c:pt idx="664">
                  <c:v>0.023520279444072756</c:v>
                </c:pt>
                <c:pt idx="665">
                  <c:v>0.03271818280149286</c:v>
                </c:pt>
                <c:pt idx="666">
                  <c:v>0.04719611200929208</c:v>
                </c:pt>
                <c:pt idx="667">
                  <c:v>0.04361239758859203</c:v>
                </c:pt>
                <c:pt idx="668">
                  <c:v>0.01689742590968013</c:v>
                </c:pt>
                <c:pt idx="669">
                  <c:v>0.06157112666661635</c:v>
                </c:pt>
                <c:pt idx="670">
                  <c:v>0.06157112666661635</c:v>
                </c:pt>
                <c:pt idx="671">
                  <c:v>0.06157112666661635</c:v>
                </c:pt>
                <c:pt idx="672">
                  <c:v>0.03706448747293556</c:v>
                </c:pt>
                <c:pt idx="673">
                  <c:v>0.06123252132651058</c:v>
                </c:pt>
                <c:pt idx="674">
                  <c:v>0.08327294336291446</c:v>
                </c:pt>
                <c:pt idx="675">
                  <c:v>0.09187409124441892</c:v>
                </c:pt>
                <c:pt idx="676">
                  <c:v>0.10203478033909352</c:v>
                </c:pt>
                <c:pt idx="677">
                  <c:v>0.10203478033909352</c:v>
                </c:pt>
                <c:pt idx="678">
                  <c:v>0.10203478033909352</c:v>
                </c:pt>
                <c:pt idx="679">
                  <c:v>0.11284869677660225</c:v>
                </c:pt>
                <c:pt idx="680">
                  <c:v>0.13780375003084377</c:v>
                </c:pt>
                <c:pt idx="681">
                  <c:v>0.1418175855749837</c:v>
                </c:pt>
                <c:pt idx="682">
                  <c:v>0.14304867306310487</c:v>
                </c:pt>
                <c:pt idx="683">
                  <c:v>0.1570759565280384</c:v>
                </c:pt>
                <c:pt idx="684">
                  <c:v>0.1570759565280384</c:v>
                </c:pt>
                <c:pt idx="685">
                  <c:v>0.1570759565280384</c:v>
                </c:pt>
                <c:pt idx="686">
                  <c:v>0.1723766441084389</c:v>
                </c:pt>
                <c:pt idx="687">
                  <c:v>0.17316990830208434</c:v>
                </c:pt>
                <c:pt idx="688">
                  <c:v>0.16963838900477168</c:v>
                </c:pt>
                <c:pt idx="689">
                  <c:v>0.12040284234629017</c:v>
                </c:pt>
                <c:pt idx="690">
                  <c:v>0.11970288170930532</c:v>
                </c:pt>
                <c:pt idx="691">
                  <c:v>0.11970288170930532</c:v>
                </c:pt>
                <c:pt idx="692">
                  <c:v>0.11970288170930532</c:v>
                </c:pt>
                <c:pt idx="693">
                  <c:v>0.12625463678684046</c:v>
                </c:pt>
                <c:pt idx="694">
                  <c:v>0.14172426815218597</c:v>
                </c:pt>
                <c:pt idx="695">
                  <c:v>0.12858344581750614</c:v>
                </c:pt>
                <c:pt idx="696">
                  <c:v>0.1389130378152703</c:v>
                </c:pt>
                <c:pt idx="697">
                  <c:v>0.13724534428422963</c:v>
                </c:pt>
                <c:pt idx="698">
                  <c:v>0.13724534428422963</c:v>
                </c:pt>
                <c:pt idx="699">
                  <c:v>0.13724534428422963</c:v>
                </c:pt>
                <c:pt idx="700">
                  <c:v>0.14273198694831968</c:v>
                </c:pt>
                <c:pt idx="701">
                  <c:v>0.16445969340234678</c:v>
                </c:pt>
                <c:pt idx="702">
                  <c:v>0.1279672306178663</c:v>
                </c:pt>
                <c:pt idx="703">
                  <c:v>0.1153890092497305</c:v>
                </c:pt>
                <c:pt idx="704">
                  <c:v>0.11697748301131528</c:v>
                </c:pt>
                <c:pt idx="705">
                  <c:v>0.11697748301131528</c:v>
                </c:pt>
                <c:pt idx="706">
                  <c:v>0.11697748301131528</c:v>
                </c:pt>
                <c:pt idx="707">
                  <c:v>0.12906019071669084</c:v>
                </c:pt>
                <c:pt idx="708">
                  <c:v>0.12503681178391557</c:v>
                </c:pt>
                <c:pt idx="709">
                  <c:v>0.1260450176818706</c:v>
                </c:pt>
                <c:pt idx="710">
                  <c:v>0.12395497736467087</c:v>
                </c:pt>
                <c:pt idx="711">
                  <c:v>0.12347554944302974</c:v>
                </c:pt>
                <c:pt idx="712">
                  <c:v>0.12347554944302974</c:v>
                </c:pt>
                <c:pt idx="713">
                  <c:v>0.12347554944302974</c:v>
                </c:pt>
                <c:pt idx="714">
                  <c:v>0.11518502765095318</c:v>
                </c:pt>
                <c:pt idx="715">
                  <c:v>0.12349960254129377</c:v>
                </c:pt>
                <c:pt idx="716">
                  <c:v>0.13170479710222893</c:v>
                </c:pt>
                <c:pt idx="717">
                  <c:v>0.11864895327313407</c:v>
                </c:pt>
                <c:pt idx="718">
                  <c:v>0.13271119706715107</c:v>
                </c:pt>
                <c:pt idx="719">
                  <c:v>0.13271119706715107</c:v>
                </c:pt>
                <c:pt idx="720">
                  <c:v>0.13271119706715107</c:v>
                </c:pt>
                <c:pt idx="721">
                  <c:v>0.15094944972066515</c:v>
                </c:pt>
                <c:pt idx="722">
                  <c:v>0.17119162673784238</c:v>
                </c:pt>
                <c:pt idx="723">
                  <c:v>0.1871097714441956</c:v>
                </c:pt>
                <c:pt idx="724">
                  <c:v>0.18150286349767386</c:v>
                </c:pt>
                <c:pt idx="725">
                  <c:v>0.19603473967139662</c:v>
                </c:pt>
                <c:pt idx="726">
                  <c:v>0.19603473967139662</c:v>
                </c:pt>
                <c:pt idx="727">
                  <c:v>0.19603473967139662</c:v>
                </c:pt>
                <c:pt idx="728">
                  <c:v>0.20430922406378582</c:v>
                </c:pt>
                <c:pt idx="729">
                  <c:v>0.19865291012079123</c:v>
                </c:pt>
                <c:pt idx="730">
                  <c:v>0.20151688821031977</c:v>
                </c:pt>
                <c:pt idx="731">
                  <c:v>0.20002633452905672</c:v>
                </c:pt>
                <c:pt idx="732">
                  <c:v>0.2113561242314399</c:v>
                </c:pt>
                <c:pt idx="733">
                  <c:v>0.2113561242314399</c:v>
                </c:pt>
                <c:pt idx="734">
                  <c:v>0.2113561242314399</c:v>
                </c:pt>
                <c:pt idx="735">
                  <c:v>0.22211968792104786</c:v>
                </c:pt>
                <c:pt idx="736">
                  <c:v>0.22476524181448343</c:v>
                </c:pt>
                <c:pt idx="737">
                  <c:v>0.23015138267577928</c:v>
                </c:pt>
                <c:pt idx="738">
                  <c:v>0.24507716262407575</c:v>
                </c:pt>
                <c:pt idx="739">
                  <c:v>0.20466070856489127</c:v>
                </c:pt>
                <c:pt idx="740">
                  <c:v>0.20466070856489127</c:v>
                </c:pt>
                <c:pt idx="741">
                  <c:v>0.20466070856489127</c:v>
                </c:pt>
                <c:pt idx="742">
                  <c:v>0.1956110590279201</c:v>
                </c:pt>
                <c:pt idx="743">
                  <c:v>0.20356464430516286</c:v>
                </c:pt>
                <c:pt idx="744">
                  <c:v>0.19893148021821738</c:v>
                </c:pt>
                <c:pt idx="745">
                  <c:v>0.191052891950813</c:v>
                </c:pt>
                <c:pt idx="746">
                  <c:v>0.19327632100771552</c:v>
                </c:pt>
                <c:pt idx="747">
                  <c:v>0.19327632100771552</c:v>
                </c:pt>
                <c:pt idx="748">
                  <c:v>0.19327632100771552</c:v>
                </c:pt>
                <c:pt idx="749">
                  <c:v>0.19270209449158227</c:v>
                </c:pt>
                <c:pt idx="750">
                  <c:v>0.18601354796063863</c:v>
                </c:pt>
                <c:pt idx="751">
                  <c:v>0.18566393430945238</c:v>
                </c:pt>
                <c:pt idx="752">
                  <c:v>0.1771654263016358</c:v>
                </c:pt>
                <c:pt idx="753">
                  <c:v>0.17568028332808527</c:v>
                </c:pt>
                <c:pt idx="754">
                  <c:v>0.17568028332808527</c:v>
                </c:pt>
                <c:pt idx="755">
                  <c:v>0.17568028332808527</c:v>
                </c:pt>
                <c:pt idx="756">
                  <c:v>0.18128459464580549</c:v>
                </c:pt>
                <c:pt idx="757">
                  <c:v>0.16918602285680207</c:v>
                </c:pt>
                <c:pt idx="758">
                  <c:v>0.18375623892773296</c:v>
                </c:pt>
                <c:pt idx="759">
                  <c:v>0.1865715609257248</c:v>
                </c:pt>
                <c:pt idx="760">
                  <c:v>0.20190165235681978</c:v>
                </c:pt>
                <c:pt idx="761">
                  <c:v>0.20190165235681978</c:v>
                </c:pt>
                <c:pt idx="762">
                  <c:v>0.20190165235681978</c:v>
                </c:pt>
                <c:pt idx="763">
                  <c:v>0.20701072531853848</c:v>
                </c:pt>
                <c:pt idx="764">
                  <c:v>0.22951455136238041</c:v>
                </c:pt>
                <c:pt idx="765">
                  <c:v>0.23470000687242876</c:v>
                </c:pt>
                <c:pt idx="766">
                  <c:v>0.2304891070451649</c:v>
                </c:pt>
                <c:pt idx="767">
                  <c:v>0.22050561366767818</c:v>
                </c:pt>
                <c:pt idx="768">
                  <c:v>0.22050561366767818</c:v>
                </c:pt>
                <c:pt idx="769">
                  <c:v>0.22050561366767818</c:v>
                </c:pt>
                <c:pt idx="770">
                  <c:v>0.22353289089371264</c:v>
                </c:pt>
                <c:pt idx="771">
                  <c:v>0.22103487948914502</c:v>
                </c:pt>
                <c:pt idx="772">
                  <c:v>0.21160067353999112</c:v>
                </c:pt>
                <c:pt idx="773">
                  <c:v>0.2117621440707056</c:v>
                </c:pt>
                <c:pt idx="774">
                  <c:v>0.19165045302678219</c:v>
                </c:pt>
                <c:pt idx="775">
                  <c:v>0.19165045302678219</c:v>
                </c:pt>
                <c:pt idx="776">
                  <c:v>0.19165045302678219</c:v>
                </c:pt>
                <c:pt idx="777">
                  <c:v>0.1933631770258577</c:v>
                </c:pt>
                <c:pt idx="778">
                  <c:v>0.20773782398006646</c:v>
                </c:pt>
                <c:pt idx="779">
                  <c:v>0.1940177038170714</c:v>
                </c:pt>
                <c:pt idx="780">
                  <c:v>0.1888990092298064</c:v>
                </c:pt>
                <c:pt idx="781">
                  <c:v>0.19005911077042548</c:v>
                </c:pt>
                <c:pt idx="782">
                  <c:v>0.19005911077042548</c:v>
                </c:pt>
                <c:pt idx="783">
                  <c:v>0.19005911077042548</c:v>
                </c:pt>
                <c:pt idx="784">
                  <c:v>0.20384003527976957</c:v>
                </c:pt>
                <c:pt idx="785">
                  <c:v>0.21379989316627612</c:v>
                </c:pt>
                <c:pt idx="786">
                  <c:v>0.2265588193840602</c:v>
                </c:pt>
                <c:pt idx="787">
                  <c:v>0.25465842913444714</c:v>
                </c:pt>
                <c:pt idx="788">
                  <c:v>0.2690293462910398</c:v>
                </c:pt>
                <c:pt idx="789">
                  <c:v>0.2690293462910398</c:v>
                </c:pt>
                <c:pt idx="790">
                  <c:v>0.2690293462910398</c:v>
                </c:pt>
                <c:pt idx="791">
                  <c:v>0.2676816533308095</c:v>
                </c:pt>
                <c:pt idx="792">
                  <c:v>0.27444898987831223</c:v>
                </c:pt>
                <c:pt idx="793">
                  <c:v>0.29063863752980157</c:v>
                </c:pt>
                <c:pt idx="794">
                  <c:v>0.2875466068684853</c:v>
                </c:pt>
                <c:pt idx="795">
                  <c:v>0.31450191096921465</c:v>
                </c:pt>
                <c:pt idx="796">
                  <c:v>0.31450191096921465</c:v>
                </c:pt>
                <c:pt idx="797">
                  <c:v>0.31450191096921465</c:v>
                </c:pt>
                <c:pt idx="798">
                  <c:v>0.31442320254218714</c:v>
                </c:pt>
                <c:pt idx="799">
                  <c:v>0.34799356133813797</c:v>
                </c:pt>
                <c:pt idx="800">
                  <c:v>0.3561034373430785</c:v>
                </c:pt>
                <c:pt idx="801">
                  <c:v>0.3627439676369202</c:v>
                </c:pt>
                <c:pt idx="802">
                  <c:v>0.3745213942257959</c:v>
                </c:pt>
                <c:pt idx="803">
                  <c:v>0.3745213942257959</c:v>
                </c:pt>
                <c:pt idx="804">
                  <c:v>0.3745213942257959</c:v>
                </c:pt>
                <c:pt idx="805">
                  <c:v>0.38258306881019943</c:v>
                </c:pt>
                <c:pt idx="806">
                  <c:v>0.3866558135798164</c:v>
                </c:pt>
                <c:pt idx="807">
                  <c:v>0.3933142978415203</c:v>
                </c:pt>
                <c:pt idx="808">
                  <c:v>0.3946625763001619</c:v>
                </c:pt>
                <c:pt idx="809">
                  <c:v>0.4028350538664922</c:v>
                </c:pt>
                <c:pt idx="810">
                  <c:v>0.4028350538664922</c:v>
                </c:pt>
                <c:pt idx="811">
                  <c:v>0.4028350538664922</c:v>
                </c:pt>
                <c:pt idx="812">
                  <c:v>0.4040329885598821</c:v>
                </c:pt>
                <c:pt idx="813">
                  <c:v>0.41274805858067176</c:v>
                </c:pt>
                <c:pt idx="814">
                  <c:v>0.41498172545185064</c:v>
                </c:pt>
                <c:pt idx="815">
                  <c:v>0.4261217254256322</c:v>
                </c:pt>
                <c:pt idx="816">
                  <c:v>0.43574242617054315</c:v>
                </c:pt>
                <c:pt idx="817">
                  <c:v>0.43574242617054315</c:v>
                </c:pt>
                <c:pt idx="818">
                  <c:v>0.43574242617054315</c:v>
                </c:pt>
                <c:pt idx="819">
                  <c:v>0.4292443419859304</c:v>
                </c:pt>
                <c:pt idx="820">
                  <c:v>0.43071606732548506</c:v>
                </c:pt>
                <c:pt idx="821">
                  <c:v>0.43608023064128076</c:v>
                </c:pt>
                <c:pt idx="822">
                  <c:v>0.4520057146562919</c:v>
                </c:pt>
                <c:pt idx="823">
                  <c:v>0.46948367211351894</c:v>
                </c:pt>
                <c:pt idx="824">
                  <c:v>0.46948367211351894</c:v>
                </c:pt>
                <c:pt idx="825">
                  <c:v>0.46948367211351894</c:v>
                </c:pt>
                <c:pt idx="826">
                  <c:v>0.46684256842429495</c:v>
                </c:pt>
                <c:pt idx="827">
                  <c:v>0.48268036234990497</c:v>
                </c:pt>
                <c:pt idx="828">
                  <c:v>0.5064285461635987</c:v>
                </c:pt>
                <c:pt idx="829">
                  <c:v>0.5208972628801432</c:v>
                </c:pt>
                <c:pt idx="830">
                  <c:v>0.5215752228102739</c:v>
                </c:pt>
                <c:pt idx="831">
                  <c:v>0.5215752228102739</c:v>
                </c:pt>
                <c:pt idx="832">
                  <c:v>0.5215752228102739</c:v>
                </c:pt>
                <c:pt idx="833">
                  <c:v>0.5544060205383283</c:v>
                </c:pt>
                <c:pt idx="834">
                  <c:v>0.5648625832651308</c:v>
                </c:pt>
                <c:pt idx="835">
                  <c:v>0.5512322776596554</c:v>
                </c:pt>
                <c:pt idx="836">
                  <c:v>0.5813755163615901</c:v>
                </c:pt>
                <c:pt idx="837">
                  <c:v>0.5846397223525688</c:v>
                </c:pt>
                <c:pt idx="838">
                  <c:v>0.5846397223525688</c:v>
                </c:pt>
                <c:pt idx="839">
                  <c:v>0.5846397223525688</c:v>
                </c:pt>
                <c:pt idx="840">
                  <c:v>0.5914274842201526</c:v>
                </c:pt>
                <c:pt idx="841">
                  <c:v>0.5991345825666956</c:v>
                </c:pt>
                <c:pt idx="842">
                  <c:v>0.6047741157709945</c:v>
                </c:pt>
                <c:pt idx="843">
                  <c:v>0.6100460791043099</c:v>
                </c:pt>
                <c:pt idx="844">
                  <c:v>0.6255579620706555</c:v>
                </c:pt>
                <c:pt idx="845">
                  <c:v>0.6255579620706555</c:v>
                </c:pt>
                <c:pt idx="846">
                  <c:v>0.6255579620706555</c:v>
                </c:pt>
                <c:pt idx="847">
                  <c:v>0.6234673749857511</c:v>
                </c:pt>
                <c:pt idx="848">
                  <c:v>0.6110461658075859</c:v>
                </c:pt>
                <c:pt idx="849">
                  <c:v>0.5935934146783088</c:v>
                </c:pt>
                <c:pt idx="850">
                  <c:v>0.5930190031297031</c:v>
                </c:pt>
                <c:pt idx="851">
                  <c:v>0.5957489062361969</c:v>
                </c:pt>
                <c:pt idx="852">
                  <c:v>0.5957489062361969</c:v>
                </c:pt>
                <c:pt idx="853">
                  <c:v>0.5957489062361969</c:v>
                </c:pt>
                <c:pt idx="854">
                  <c:v>0.6121184673263873</c:v>
                </c:pt>
                <c:pt idx="855">
                  <c:v>0.6181768060816997</c:v>
                </c:pt>
                <c:pt idx="856">
                  <c:v>0.6272264216498442</c:v>
                </c:pt>
                <c:pt idx="857">
                  <c:v>0.630032763467226</c:v>
                </c:pt>
                <c:pt idx="858">
                  <c:v>0.6400027412279339</c:v>
                </c:pt>
                <c:pt idx="859">
                  <c:v>0.6400027412279339</c:v>
                </c:pt>
                <c:pt idx="860">
                  <c:v>0.6400027412279339</c:v>
                </c:pt>
                <c:pt idx="861">
                  <c:v>0.6374942973816105</c:v>
                </c:pt>
                <c:pt idx="862">
                  <c:v>0.626282566607371</c:v>
                </c:pt>
                <c:pt idx="863">
                  <c:v>0.6230098361537773</c:v>
                </c:pt>
                <c:pt idx="864">
                  <c:v>0.6363351497925345</c:v>
                </c:pt>
                <c:pt idx="865">
                  <c:v>0.6584924531260243</c:v>
                </c:pt>
                <c:pt idx="866">
                  <c:v>0.6584924531260243</c:v>
                </c:pt>
                <c:pt idx="867">
                  <c:v>0.6584924531260243</c:v>
                </c:pt>
                <c:pt idx="868">
                  <c:v>0.6635837332623491</c:v>
                </c:pt>
                <c:pt idx="869">
                  <c:v>0.6721851876855272</c:v>
                </c:pt>
                <c:pt idx="870">
                  <c:v>0.6825837541635753</c:v>
                </c:pt>
                <c:pt idx="871">
                  <c:v>0.699607160279871</c:v>
                </c:pt>
                <c:pt idx="872">
                  <c:v>0.7083325802373528</c:v>
                </c:pt>
                <c:pt idx="873">
                  <c:v>0.7083325802373528</c:v>
                </c:pt>
                <c:pt idx="874">
                  <c:v>0.7083325802373528</c:v>
                </c:pt>
                <c:pt idx="875">
                  <c:v>0.725550691470995</c:v>
                </c:pt>
                <c:pt idx="876">
                  <c:v>0.727968709198952</c:v>
                </c:pt>
                <c:pt idx="877">
                  <c:v>0.7094016087488162</c:v>
                </c:pt>
                <c:pt idx="878">
                  <c:v>0.7277436884429205</c:v>
                </c:pt>
                <c:pt idx="879">
                  <c:v>0.7437629904808116</c:v>
                </c:pt>
                <c:pt idx="880">
                  <c:v>0.7437629904808116</c:v>
                </c:pt>
                <c:pt idx="881">
                  <c:v>0.7437629904808116</c:v>
                </c:pt>
                <c:pt idx="882">
                  <c:v>0.7535464262362765</c:v>
                </c:pt>
                <c:pt idx="883">
                  <c:v>0.7464129705978562</c:v>
                </c:pt>
                <c:pt idx="884">
                  <c:v>0.7512699098562847</c:v>
                </c:pt>
                <c:pt idx="885">
                  <c:v>0.7403726587391757</c:v>
                </c:pt>
                <c:pt idx="886">
                  <c:v>0.75021872064188</c:v>
                </c:pt>
                <c:pt idx="887">
                  <c:v>0.75021872064188</c:v>
                </c:pt>
                <c:pt idx="888">
                  <c:v>0.75021872064188</c:v>
                </c:pt>
                <c:pt idx="889">
                  <c:v>0.7498909323192826</c:v>
                </c:pt>
                <c:pt idx="890">
                  <c:v>0.7234855516401244</c:v>
                </c:pt>
                <c:pt idx="891">
                  <c:v>0.736229295224057</c:v>
                </c:pt>
                <c:pt idx="892">
                  <c:v>0.7469232312781906</c:v>
                </c:pt>
                <c:pt idx="893">
                  <c:v>0.7125067839052626</c:v>
                </c:pt>
                <c:pt idx="894">
                  <c:v>0.7125067839052626</c:v>
                </c:pt>
                <c:pt idx="895">
                  <c:v>0.7125067839052626</c:v>
                </c:pt>
                <c:pt idx="896">
                  <c:v>0.6106679245983768</c:v>
                </c:pt>
                <c:pt idx="897">
                  <c:v>0.48384079679010616</c:v>
                </c:pt>
                <c:pt idx="898">
                  <c:v>0.4748550849292328</c:v>
                </c:pt>
                <c:pt idx="899">
                  <c:v>0.50675273771764</c:v>
                </c:pt>
                <c:pt idx="900">
                  <c:v>0.5079269133638333</c:v>
                </c:pt>
                <c:pt idx="901">
                  <c:v>0.5079269133638333</c:v>
                </c:pt>
                <c:pt idx="902">
                  <c:v>0.5079269133638333</c:v>
                </c:pt>
                <c:pt idx="903">
                  <c:v>0.5118611236261719</c:v>
                </c:pt>
                <c:pt idx="904">
                  <c:v>0.5158451588204418</c:v>
                </c:pt>
                <c:pt idx="905">
                  <c:v>0.5241365863180638</c:v>
                </c:pt>
                <c:pt idx="906">
                  <c:v>0.5289537090649468</c:v>
                </c:pt>
                <c:pt idx="907">
                  <c:v>0.5709782117258189</c:v>
                </c:pt>
                <c:pt idx="908">
                  <c:v>0.5709782117258189</c:v>
                </c:pt>
                <c:pt idx="909">
                  <c:v>0.5709782117258189</c:v>
                </c:pt>
                <c:pt idx="910">
                  <c:v>0.5627739152325781</c:v>
                </c:pt>
                <c:pt idx="911">
                  <c:v>0.5623988098691739</c:v>
                </c:pt>
                <c:pt idx="912">
                  <c:v>0.584409140327772</c:v>
                </c:pt>
                <c:pt idx="913">
                  <c:v>0.6071418734201632</c:v>
                </c:pt>
                <c:pt idx="914">
                  <c:v>0.6090540608400847</c:v>
                </c:pt>
                <c:pt idx="915">
                  <c:v>0.6090540608400847</c:v>
                </c:pt>
                <c:pt idx="916">
                  <c:v>0.6090540608400847</c:v>
                </c:pt>
                <c:pt idx="917">
                  <c:v>0.6106610834812081</c:v>
                </c:pt>
                <c:pt idx="918">
                  <c:v>0.6430818514175727</c:v>
                </c:pt>
                <c:pt idx="919">
                  <c:v>0.6570304104785318</c:v>
                </c:pt>
                <c:pt idx="920">
                  <c:v>0.6574204391507288</c:v>
                </c:pt>
                <c:pt idx="921">
                  <c:v>0.6612935367787449</c:v>
                </c:pt>
                <c:pt idx="922">
                  <c:v>0.6612935367787449</c:v>
                </c:pt>
                <c:pt idx="923">
                  <c:v>0.6612935367787449</c:v>
                </c:pt>
                <c:pt idx="924">
                  <c:v>0.6798299973270778</c:v>
                </c:pt>
                <c:pt idx="925">
                  <c:v>0.7214436145977432</c:v>
                </c:pt>
                <c:pt idx="926">
                  <c:v>0.7467113481166223</c:v>
                </c:pt>
                <c:pt idx="927">
                  <c:v>0.7591389688283192</c:v>
                </c:pt>
                <c:pt idx="928">
                  <c:v>0.7733573236866311</c:v>
                </c:pt>
                <c:pt idx="929">
                  <c:v>0.7733573236866311</c:v>
                </c:pt>
                <c:pt idx="930">
                  <c:v>0.7733573236866311</c:v>
                </c:pt>
                <c:pt idx="931">
                  <c:v>0.7721154414914781</c:v>
                </c:pt>
                <c:pt idx="932">
                  <c:v>0.8111793115873596</c:v>
                </c:pt>
                <c:pt idx="933">
                  <c:v>0.7330495106786168</c:v>
                </c:pt>
                <c:pt idx="934">
                  <c:v>0.7190358441565645</c:v>
                </c:pt>
                <c:pt idx="935">
                  <c:v>0.6892603638867163</c:v>
                </c:pt>
                <c:pt idx="936">
                  <c:v>0.6892603638867163</c:v>
                </c:pt>
                <c:pt idx="937">
                  <c:v>0.6892603638867163</c:v>
                </c:pt>
                <c:pt idx="938">
                  <c:v>0.6992680546002426</c:v>
                </c:pt>
                <c:pt idx="939">
                  <c:v>0.6907412157057988</c:v>
                </c:pt>
                <c:pt idx="940">
                  <c:v>0.6779612721519854</c:v>
                </c:pt>
                <c:pt idx="941">
                  <c:v>0.6533004478139008</c:v>
                </c:pt>
                <c:pt idx="942">
                  <c:v>0.6705010378789282</c:v>
                </c:pt>
                <c:pt idx="943">
                  <c:v>0.6705010378789282</c:v>
                </c:pt>
                <c:pt idx="944">
                  <c:v>0.6705010378789282</c:v>
                </c:pt>
                <c:pt idx="945">
                  <c:v>0.6666367529605262</c:v>
                </c:pt>
                <c:pt idx="946">
                  <c:v>0.665448643945391</c:v>
                </c:pt>
                <c:pt idx="947">
                  <c:v>0.6609022105871165</c:v>
                </c:pt>
                <c:pt idx="948">
                  <c:v>0.6725420921152447</c:v>
                </c:pt>
                <c:pt idx="949">
                  <c:v>0.6584597054832049</c:v>
                </c:pt>
                <c:pt idx="950">
                  <c:v>0.6584597054832049</c:v>
                </c:pt>
                <c:pt idx="951">
                  <c:v>0.6584597054832049</c:v>
                </c:pt>
                <c:pt idx="952">
                  <c:v>0.6382763301322341</c:v>
                </c:pt>
                <c:pt idx="953">
                  <c:v>0.6392089182091552</c:v>
                </c:pt>
                <c:pt idx="954">
                  <c:v>0.6332497076714323</c:v>
                </c:pt>
                <c:pt idx="955">
                  <c:v>0.6403089001437847</c:v>
                </c:pt>
                <c:pt idx="956">
                  <c:v>0.6539383523986557</c:v>
                </c:pt>
                <c:pt idx="957">
                  <c:v>0.6539383523986557</c:v>
                </c:pt>
                <c:pt idx="958">
                  <c:v>0.6539383523986557</c:v>
                </c:pt>
                <c:pt idx="959">
                  <c:v>0.6737037641984058</c:v>
                </c:pt>
                <c:pt idx="960">
                  <c:v>0.7074742071478834</c:v>
                </c:pt>
                <c:pt idx="961">
                  <c:v>0.7063299010161017</c:v>
                </c:pt>
                <c:pt idx="962">
                  <c:v>0.7198744418590148</c:v>
                </c:pt>
                <c:pt idx="963">
                  <c:v>0.7490307686880064</c:v>
                </c:pt>
                <c:pt idx="964">
                  <c:v>0.7490307686880064</c:v>
                </c:pt>
                <c:pt idx="965">
                  <c:v>0.7490307686880064</c:v>
                </c:pt>
                <c:pt idx="966">
                  <c:v>0.772622195422658</c:v>
                </c:pt>
                <c:pt idx="967">
                  <c:v>0.7510029939879106</c:v>
                </c:pt>
                <c:pt idx="968">
                  <c:v>0.7557651673635424</c:v>
                </c:pt>
                <c:pt idx="969">
                  <c:v>0.7767608319536699</c:v>
                </c:pt>
                <c:pt idx="970">
                  <c:v>0.8068359046227755</c:v>
                </c:pt>
                <c:pt idx="971">
                  <c:v>0.8068359046227755</c:v>
                </c:pt>
                <c:pt idx="972">
                  <c:v>0.8068359046227755</c:v>
                </c:pt>
                <c:pt idx="973">
                  <c:v>0.8227871260411681</c:v>
                </c:pt>
                <c:pt idx="974">
                  <c:v>0.8401970213678398</c:v>
                </c:pt>
                <c:pt idx="975">
                  <c:v>0.834335963378962</c:v>
                </c:pt>
                <c:pt idx="976">
                  <c:v>0.8608787956534083</c:v>
                </c:pt>
                <c:pt idx="977">
                  <c:v>0.8665557773639772</c:v>
                </c:pt>
                <c:pt idx="978">
                  <c:v>0.8665557773639772</c:v>
                </c:pt>
                <c:pt idx="979">
                  <c:v>0.8665557773639772</c:v>
                </c:pt>
                <c:pt idx="980">
                  <c:v>0.8688924492809993</c:v>
                </c:pt>
                <c:pt idx="981">
                  <c:v>0.763894746853887</c:v>
                </c:pt>
                <c:pt idx="982">
                  <c:v>0.7357570398383644</c:v>
                </c:pt>
                <c:pt idx="983">
                  <c:v>0.7737698650738996</c:v>
                </c:pt>
                <c:pt idx="984">
                  <c:v>0.7538401770990164</c:v>
                </c:pt>
                <c:pt idx="985">
                  <c:v>0.7538401770990164</c:v>
                </c:pt>
                <c:pt idx="986">
                  <c:v>0.7538401770990164</c:v>
                </c:pt>
                <c:pt idx="987">
                  <c:v>0.762992622367515</c:v>
                </c:pt>
                <c:pt idx="988">
                  <c:v>0.7952576205827016</c:v>
                </c:pt>
                <c:pt idx="989">
                  <c:v>0.7853214911461301</c:v>
                </c:pt>
                <c:pt idx="990">
                  <c:v>0.7913953888997904</c:v>
                </c:pt>
                <c:pt idx="991">
                  <c:v>0.8297548456351931</c:v>
                </c:pt>
                <c:pt idx="992">
                  <c:v>0.8297548456351931</c:v>
                </c:pt>
                <c:pt idx="993">
                  <c:v>0.8297548456351931</c:v>
                </c:pt>
                <c:pt idx="994">
                  <c:v>0.8424017309695266</c:v>
                </c:pt>
                <c:pt idx="995">
                  <c:v>0.8509961085928179</c:v>
                </c:pt>
                <c:pt idx="996">
                  <c:v>0.846062057482144</c:v>
                </c:pt>
                <c:pt idx="997">
                  <c:v>0.8568470988670842</c:v>
                </c:pt>
                <c:pt idx="998">
                  <c:v>0.8677913067714758</c:v>
                </c:pt>
                <c:pt idx="999">
                  <c:v>0.8677913067714758</c:v>
                </c:pt>
                <c:pt idx="1000">
                  <c:v>0.8677913067714758</c:v>
                </c:pt>
                <c:pt idx="1001">
                  <c:v>0.7735629030129003</c:v>
                </c:pt>
                <c:pt idx="1002">
                  <c:v>0.7878785238578823</c:v>
                </c:pt>
                <c:pt idx="1003">
                  <c:v>0.8197896569095113</c:v>
                </c:pt>
                <c:pt idx="1004">
                  <c:v>0.8303421248569662</c:v>
                </c:pt>
                <c:pt idx="1005">
                  <c:v>0.8177403304076949</c:v>
                </c:pt>
                <c:pt idx="1006">
                  <c:v>0.8177403304076949</c:v>
                </c:pt>
                <c:pt idx="1007">
                  <c:v>0.8177403304076949</c:v>
                </c:pt>
                <c:pt idx="1008">
                  <c:v>0.8447930937031529</c:v>
                </c:pt>
                <c:pt idx="1009">
                  <c:v>0.8328940842474839</c:v>
                </c:pt>
                <c:pt idx="1010">
                  <c:v>0.8421822671983799</c:v>
                </c:pt>
                <c:pt idx="1011">
                  <c:v>0.8512794244699273</c:v>
                </c:pt>
                <c:pt idx="1012">
                  <c:v>0.8414425227767628</c:v>
                </c:pt>
                <c:pt idx="1013">
                  <c:v>0.8414425227767628</c:v>
                </c:pt>
                <c:pt idx="1014">
                  <c:v>0.8414425227767628</c:v>
                </c:pt>
                <c:pt idx="1015">
                  <c:v>0.8334274778674491</c:v>
                </c:pt>
                <c:pt idx="1016">
                  <c:v>0.8174769332074052</c:v>
                </c:pt>
                <c:pt idx="1017">
                  <c:v>0.8181464845955146</c:v>
                </c:pt>
                <c:pt idx="1018">
                  <c:v>0.7937083375873599</c:v>
                </c:pt>
                <c:pt idx="1019">
                  <c:v>0.7820421222219056</c:v>
                </c:pt>
                <c:pt idx="1020">
                  <c:v>0.7820421222219056</c:v>
                </c:pt>
                <c:pt idx="1021">
                  <c:v>0.7820421222219056</c:v>
                </c:pt>
                <c:pt idx="1022">
                  <c:v>0.7821810727698288</c:v>
                </c:pt>
                <c:pt idx="1023">
                  <c:v>0.7893960351775995</c:v>
                </c:pt>
                <c:pt idx="1024">
                  <c:v>0.8092335494604819</c:v>
                </c:pt>
                <c:pt idx="1025">
                  <c:v>0.8183727147453814</c:v>
                </c:pt>
                <c:pt idx="1026">
                  <c:v>0.8046172059138157</c:v>
                </c:pt>
                <c:pt idx="1027">
                  <c:v>0.8046172059138157</c:v>
                </c:pt>
                <c:pt idx="1028">
                  <c:v>0.8046172059138157</c:v>
                </c:pt>
                <c:pt idx="1029">
                  <c:v>0.6857556632603621</c:v>
                </c:pt>
                <c:pt idx="1030">
                  <c:v>0.6928387666946096</c:v>
                </c:pt>
                <c:pt idx="1031">
                  <c:v>0.7136779062338292</c:v>
                </c:pt>
                <c:pt idx="1032">
                  <c:v>0.7226662306628675</c:v>
                </c:pt>
                <c:pt idx="1033">
                  <c:v>0.7424224354015001</c:v>
                </c:pt>
                <c:pt idx="1034">
                  <c:v>0.7424224354015001</c:v>
                </c:pt>
                <c:pt idx="1035">
                  <c:v>0.7424224354015001</c:v>
                </c:pt>
                <c:pt idx="1036">
                  <c:v>0.7557911838639275</c:v>
                </c:pt>
                <c:pt idx="1037">
                  <c:v>0.7614741322925966</c:v>
                </c:pt>
                <c:pt idx="1038">
                  <c:v>0.787367228351421</c:v>
                </c:pt>
                <c:pt idx="1039">
                  <c:v>0.8257751714506671</c:v>
                </c:pt>
                <c:pt idx="1040">
                  <c:v>0.8392226775919076</c:v>
                </c:pt>
                <c:pt idx="1041">
                  <c:v>0.8392226775919076</c:v>
                </c:pt>
                <c:pt idx="1042">
                  <c:v>0.8392226775919076</c:v>
                </c:pt>
                <c:pt idx="1043">
                  <c:v>0.8465984262549231</c:v>
                </c:pt>
                <c:pt idx="1044">
                  <c:v>0.8651884671358416</c:v>
                </c:pt>
                <c:pt idx="1045">
                  <c:v>0.8601127464216669</c:v>
                </c:pt>
                <c:pt idx="1046">
                  <c:v>0.8576110071683178</c:v>
                </c:pt>
                <c:pt idx="1047">
                  <c:v>0.8714455936834058</c:v>
                </c:pt>
                <c:pt idx="1048">
                  <c:v>0.8714455936834058</c:v>
                </c:pt>
                <c:pt idx="1049">
                  <c:v>0.8714455936834058</c:v>
                </c:pt>
                <c:pt idx="1050">
                  <c:v>0.8256399148778732</c:v>
                </c:pt>
                <c:pt idx="1051">
                  <c:v>0.8488283360996001</c:v>
                </c:pt>
                <c:pt idx="1052">
                  <c:v>0.8109321261005704</c:v>
                </c:pt>
                <c:pt idx="1053">
                  <c:v>0.8117289042724145</c:v>
                </c:pt>
                <c:pt idx="1054">
                  <c:v>0.8372728562032472</c:v>
                </c:pt>
                <c:pt idx="1055">
                  <c:v>0.8372728562032472</c:v>
                </c:pt>
                <c:pt idx="1056">
                  <c:v>0.8372728562032472</c:v>
                </c:pt>
                <c:pt idx="1057">
                  <c:v>0.8367301279161963</c:v>
                </c:pt>
                <c:pt idx="1058">
                  <c:v>0.8342586751353775</c:v>
                </c:pt>
                <c:pt idx="1059">
                  <c:v>0.8822719962391048</c:v>
                </c:pt>
                <c:pt idx="1060">
                  <c:v>0.8229710680396372</c:v>
                </c:pt>
                <c:pt idx="1061">
                  <c:v>0.7762443812450197</c:v>
                </c:pt>
                <c:pt idx="1062">
                  <c:v>0.7762443812450197</c:v>
                </c:pt>
                <c:pt idx="1063">
                  <c:v>0.7762443812450197</c:v>
                </c:pt>
                <c:pt idx="1064">
                  <c:v>0.7155694135841257</c:v>
                </c:pt>
                <c:pt idx="1065">
                  <c:v>0.7426191424462358</c:v>
                </c:pt>
                <c:pt idx="1066">
                  <c:v>0.7470154634290085</c:v>
                </c:pt>
                <c:pt idx="1067">
                  <c:v>0.7787973520238098</c:v>
                </c:pt>
                <c:pt idx="1068">
                  <c:v>0.7979040545990312</c:v>
                </c:pt>
                <c:pt idx="1069">
                  <c:v>0.7979040545990312</c:v>
                </c:pt>
                <c:pt idx="1070">
                  <c:v>0.7979040545990312</c:v>
                </c:pt>
                <c:pt idx="1071">
                  <c:v>0.8012163190499839</c:v>
                </c:pt>
                <c:pt idx="1072">
                  <c:v>0.834506031400166</c:v>
                </c:pt>
                <c:pt idx="1073">
                  <c:v>0.8349695364718883</c:v>
                </c:pt>
                <c:pt idx="1074">
                  <c:v>0.8717814899326286</c:v>
                </c:pt>
                <c:pt idx="1075">
                  <c:v>0.8883947488185606</c:v>
                </c:pt>
                <c:pt idx="1076">
                  <c:v>0.8883947488185606</c:v>
                </c:pt>
                <c:pt idx="1077">
                  <c:v>0.8883947488185606</c:v>
                </c:pt>
                <c:pt idx="1078">
                  <c:v>0.8900532863457049</c:v>
                </c:pt>
                <c:pt idx="1079">
                  <c:v>0.8528093589166976</c:v>
                </c:pt>
                <c:pt idx="1080">
                  <c:v>0.8648622686585703</c:v>
                </c:pt>
                <c:pt idx="1081">
                  <c:v>0.8689107051222953</c:v>
                </c:pt>
                <c:pt idx="1082">
                  <c:v>0.899569884059811</c:v>
                </c:pt>
                <c:pt idx="1083">
                  <c:v>0.899569884059811</c:v>
                </c:pt>
                <c:pt idx="1084">
                  <c:v>0.899569884059811</c:v>
                </c:pt>
                <c:pt idx="1085">
                  <c:v>0.8928009275480271</c:v>
                </c:pt>
                <c:pt idx="1086">
                  <c:v>0.9151436680451956</c:v>
                </c:pt>
                <c:pt idx="1087">
                  <c:v>0.9025266565025336</c:v>
                </c:pt>
                <c:pt idx="1088">
                  <c:v>0.8793184832524912</c:v>
                </c:pt>
                <c:pt idx="1089">
                  <c:v>0.9047041785326784</c:v>
                </c:pt>
                <c:pt idx="1090">
                  <c:v>0.9047041785326784</c:v>
                </c:pt>
                <c:pt idx="1091">
                  <c:v>0.9047041785326784</c:v>
                </c:pt>
                <c:pt idx="1092">
                  <c:v>0.905849753739185</c:v>
                </c:pt>
                <c:pt idx="1093">
                  <c:v>0.8755115845442742</c:v>
                </c:pt>
                <c:pt idx="1094">
                  <c:v>0.8677249343362727</c:v>
                </c:pt>
                <c:pt idx="1095">
                  <c:v>0.8718309104186641</c:v>
                </c:pt>
                <c:pt idx="1096">
                  <c:v>0.8425068312924828</c:v>
                </c:pt>
                <c:pt idx="1097">
                  <c:v>0.8425068312924828</c:v>
                </c:pt>
                <c:pt idx="1098">
                  <c:v>0.8425068312924828</c:v>
                </c:pt>
                <c:pt idx="1099">
                  <c:v>0.8623558484360729</c:v>
                </c:pt>
                <c:pt idx="1100">
                  <c:v>0.8633933477647175</c:v>
                </c:pt>
                <c:pt idx="1101">
                  <c:v>0.88970048141917</c:v>
                </c:pt>
                <c:pt idx="1102">
                  <c:v>0.9058503649964051</c:v>
                </c:pt>
                <c:pt idx="1103">
                  <c:v>0.9058243345136376</c:v>
                </c:pt>
                <c:pt idx="1104">
                  <c:v>0.9058243345136376</c:v>
                </c:pt>
                <c:pt idx="1105">
                  <c:v>0.9058243345136376</c:v>
                </c:pt>
                <c:pt idx="1106">
                  <c:v>0.9143005528500368</c:v>
                </c:pt>
                <c:pt idx="1107">
                  <c:v>0.9215647319056144</c:v>
                </c:pt>
                <c:pt idx="1108">
                  <c:v>0.9183799670875867</c:v>
                </c:pt>
                <c:pt idx="1109">
                  <c:v>0.9535927204981285</c:v>
                </c:pt>
                <c:pt idx="1110">
                  <c:v>0.9148828249022924</c:v>
                </c:pt>
                <c:pt idx="1111">
                  <c:v>0.9148828249022924</c:v>
                </c:pt>
                <c:pt idx="1112">
                  <c:v>0.9148828249022924</c:v>
                </c:pt>
                <c:pt idx="1113">
                  <c:v>0.9495828903404757</c:v>
                </c:pt>
                <c:pt idx="1114">
                  <c:v>0.9683852007751343</c:v>
                </c:pt>
                <c:pt idx="1115">
                  <c:v>0.9621011215820914</c:v>
                </c:pt>
                <c:pt idx="1116">
                  <c:v>0.9934490287534281</c:v>
                </c:pt>
                <c:pt idx="1117">
                  <c:v>0.964030544792952</c:v>
                </c:pt>
                <c:pt idx="1118">
                  <c:v>0.964030544792952</c:v>
                </c:pt>
                <c:pt idx="1119">
                  <c:v>0.964030544792952</c:v>
                </c:pt>
                <c:pt idx="1120">
                  <c:v>0.972343535166615</c:v>
                </c:pt>
                <c:pt idx="1121">
                  <c:v>0.9619059919408739</c:v>
                </c:pt>
                <c:pt idx="1122">
                  <c:v>0.9466052669611493</c:v>
                </c:pt>
                <c:pt idx="1123">
                  <c:v>0.9340694201344051</c:v>
                </c:pt>
                <c:pt idx="1124">
                  <c:v>0.9677916342908561</c:v>
                </c:pt>
                <c:pt idx="1125">
                  <c:v>0.9677916342908561</c:v>
                </c:pt>
                <c:pt idx="1126">
                  <c:v>0.9677916342908561</c:v>
                </c:pt>
                <c:pt idx="1127">
                  <c:v>0.9580870332574551</c:v>
                </c:pt>
                <c:pt idx="1128">
                  <c:v>0.9675759438265077</c:v>
                </c:pt>
                <c:pt idx="1129">
                  <c:v>0.9786268743986317</c:v>
                </c:pt>
                <c:pt idx="1130">
                  <c:v>0.9689089550235528</c:v>
                </c:pt>
                <c:pt idx="1131">
                  <c:v>0.9911348703431277</c:v>
                </c:pt>
                <c:pt idx="1132">
                  <c:v>0.9911348703431277</c:v>
                </c:pt>
                <c:pt idx="1133">
                  <c:v>0.9911348703431277</c:v>
                </c:pt>
                <c:pt idx="1134">
                  <c:v>0.9887294887213585</c:v>
                </c:pt>
                <c:pt idx="1135">
                  <c:v>0.9709192172153147</c:v>
                </c:pt>
                <c:pt idx="1136">
                  <c:v>0.9789237868524134</c:v>
                </c:pt>
                <c:pt idx="1137">
                  <c:v>0.9877143931471799</c:v>
                </c:pt>
                <c:pt idx="1138">
                  <c:v>1.00372909256869</c:v>
                </c:pt>
                <c:pt idx="1139">
                  <c:v>1.00372909256869</c:v>
                </c:pt>
                <c:pt idx="1140">
                  <c:v>1.00372909256869</c:v>
                </c:pt>
                <c:pt idx="1141">
                  <c:v>0.9850644263388433</c:v>
                </c:pt>
                <c:pt idx="1142">
                  <c:v>0.9935632840707747</c:v>
                </c:pt>
                <c:pt idx="1143">
                  <c:v>0.9691284133485314</c:v>
                </c:pt>
                <c:pt idx="1144">
                  <c:v>0.9694021816270992</c:v>
                </c:pt>
                <c:pt idx="1145">
                  <c:v>0.9722150300075862</c:v>
                </c:pt>
                <c:pt idx="1146">
                  <c:v>0.9722150300075862</c:v>
                </c:pt>
                <c:pt idx="1147">
                  <c:v>0.9722150300075862</c:v>
                </c:pt>
                <c:pt idx="1148">
                  <c:v>0.9770442421611665</c:v>
                </c:pt>
                <c:pt idx="1149">
                  <c:v>0.9818151754054554</c:v>
                </c:pt>
                <c:pt idx="1150">
                  <c:v>0.9743904025358476</c:v>
                </c:pt>
                <c:pt idx="1151">
                  <c:v>0.9460189592557149</c:v>
                </c:pt>
                <c:pt idx="1152">
                  <c:v>0.9617429259488317</c:v>
                </c:pt>
                <c:pt idx="1153">
                  <c:v>0.9617429259488317</c:v>
                </c:pt>
                <c:pt idx="1154">
                  <c:v>0.9617429259488317</c:v>
                </c:pt>
                <c:pt idx="1155">
                  <c:v>0.963754868288617</c:v>
                </c:pt>
                <c:pt idx="1156">
                  <c:v>0.9904468618131403</c:v>
                </c:pt>
                <c:pt idx="1157">
                  <c:v>1.0246388599127165</c:v>
                </c:pt>
                <c:pt idx="1158">
                  <c:v>1.0563314020888135</c:v>
                </c:pt>
                <c:pt idx="1159">
                  <c:v>1.0503666233556141</c:v>
                </c:pt>
                <c:pt idx="1160">
                  <c:v>1.0503666233556141</c:v>
                </c:pt>
                <c:pt idx="1161">
                  <c:v>1.0503666233556141</c:v>
                </c:pt>
                <c:pt idx="1162">
                  <c:v>1.0745384201197434</c:v>
                </c:pt>
                <c:pt idx="1163">
                  <c:v>1.0442213282025437</c:v>
                </c:pt>
                <c:pt idx="1164">
                  <c:v>1.0447603303951478</c:v>
                </c:pt>
                <c:pt idx="1165">
                  <c:v>1.045295086049976</c:v>
                </c:pt>
                <c:pt idx="1166">
                  <c:v>1.0297680213007765</c:v>
                </c:pt>
                <c:pt idx="1167">
                  <c:v>1.0297680213007765</c:v>
                </c:pt>
                <c:pt idx="1168">
                  <c:v>1.0297680213007765</c:v>
                </c:pt>
                <c:pt idx="1169">
                  <c:v>1.0485233199984942</c:v>
                </c:pt>
                <c:pt idx="1170">
                  <c:v>1.0477485857145958</c:v>
                </c:pt>
                <c:pt idx="1171">
                  <c:v>1.0609812961986669</c:v>
                </c:pt>
                <c:pt idx="1172">
                  <c:v>1.0724242080212893</c:v>
                </c:pt>
                <c:pt idx="1173">
                  <c:v>1.0720737361030683</c:v>
                </c:pt>
                <c:pt idx="1174">
                  <c:v>1.0720737361030683</c:v>
                </c:pt>
                <c:pt idx="1175">
                  <c:v>1.0720737361030683</c:v>
                </c:pt>
                <c:pt idx="1176">
                  <c:v>1.0825009497611844</c:v>
                </c:pt>
                <c:pt idx="1177">
                  <c:v>1.0828433556643233</c:v>
                </c:pt>
                <c:pt idx="1178">
                  <c:v>1.0748057626817307</c:v>
                </c:pt>
                <c:pt idx="1179">
                  <c:v>1.0591683871215385</c:v>
                </c:pt>
                <c:pt idx="1180">
                  <c:v>1.0489764311098955</c:v>
                </c:pt>
                <c:pt idx="1181">
                  <c:v>1.0489764311098955</c:v>
                </c:pt>
                <c:pt idx="1182">
                  <c:v>1.0489764311098955</c:v>
                </c:pt>
                <c:pt idx="1183">
                  <c:v>1.0460584243503028</c:v>
                </c:pt>
                <c:pt idx="1184">
                  <c:v>1.0526902497433412</c:v>
                </c:pt>
                <c:pt idx="1185">
                  <c:v>1.0735304444033726</c:v>
                </c:pt>
                <c:pt idx="1186">
                  <c:v>1.0785815145250104</c:v>
                </c:pt>
                <c:pt idx="1187">
                  <c:v>1.0811028885823069</c:v>
                </c:pt>
                <c:pt idx="1188">
                  <c:v>1.0811028885823069</c:v>
                </c:pt>
                <c:pt idx="1189">
                  <c:v>1.0811028885823069</c:v>
                </c:pt>
                <c:pt idx="1190">
                  <c:v>1.0894358504109674</c:v>
                </c:pt>
                <c:pt idx="1191">
                  <c:v>1.0808611036530218</c:v>
                </c:pt>
                <c:pt idx="1192">
                  <c:v>1.1129387801533328</c:v>
                </c:pt>
                <c:pt idx="1193">
                  <c:v>1.0962719803549237</c:v>
                </c:pt>
                <c:pt idx="1194">
                  <c:v>1.1051945380389863</c:v>
                </c:pt>
                <c:pt idx="1195">
                  <c:v>1.1051945380389863</c:v>
                </c:pt>
                <c:pt idx="1196">
                  <c:v>1.1051945380389863</c:v>
                </c:pt>
                <c:pt idx="1197">
                  <c:v>1.1062768772596114</c:v>
                </c:pt>
                <c:pt idx="1198">
                  <c:v>1.1062359110230542</c:v>
                </c:pt>
                <c:pt idx="1199">
                  <c:v>1.0449214985431894</c:v>
                </c:pt>
                <c:pt idx="1200">
                  <c:v>1.0415364690300621</c:v>
                </c:pt>
                <c:pt idx="1201">
                  <c:v>1.0578427079392854</c:v>
                </c:pt>
                <c:pt idx="1202">
                  <c:v>1.0578427079392854</c:v>
                </c:pt>
                <c:pt idx="1203">
                  <c:v>1.0578427079392854</c:v>
                </c:pt>
                <c:pt idx="1204">
                  <c:v>1.0618795427536134</c:v>
                </c:pt>
                <c:pt idx="1205">
                  <c:v>1.090008162531257</c:v>
                </c:pt>
                <c:pt idx="1206">
                  <c:v>1.0863688216029588</c:v>
                </c:pt>
                <c:pt idx="1207">
                  <c:v>1.0881096724244697</c:v>
                </c:pt>
                <c:pt idx="1208">
                  <c:v>1.0701882849136148</c:v>
                </c:pt>
                <c:pt idx="1209">
                  <c:v>1.0701882849136148</c:v>
                </c:pt>
                <c:pt idx="1210">
                  <c:v>1.0701882849136148</c:v>
                </c:pt>
                <c:pt idx="1211">
                  <c:v>1.058420543601775</c:v>
                </c:pt>
                <c:pt idx="1212">
                  <c:v>1.0583371273295823</c:v>
                </c:pt>
                <c:pt idx="1213">
                  <c:v>1.0583371273295823</c:v>
                </c:pt>
                <c:pt idx="1214">
                  <c:v>1.054307976530763</c:v>
                </c:pt>
                <c:pt idx="1215">
                  <c:v>1.0752457218587113</c:v>
                </c:pt>
                <c:pt idx="1216">
                  <c:v>1.0752457218587113</c:v>
                </c:pt>
                <c:pt idx="1217">
                  <c:v>1.0752457218587113</c:v>
                </c:pt>
                <c:pt idx="1218">
                  <c:v>1.0879057372041974</c:v>
                </c:pt>
                <c:pt idx="1219">
                  <c:v>1.0768750345999174</c:v>
                </c:pt>
                <c:pt idx="1220">
                  <c:v>1.0890501683755862</c:v>
                </c:pt>
                <c:pt idx="1221">
                  <c:v>1.0828777807534768</c:v>
                </c:pt>
                <c:pt idx="1222">
                  <c:v>1.0341830412929056</c:v>
                </c:pt>
                <c:pt idx="1223">
                  <c:v>1.0341830412929056</c:v>
                </c:pt>
                <c:pt idx="1224">
                  <c:v>1.0341830412929056</c:v>
                </c:pt>
                <c:pt idx="1225">
                  <c:v>1.0318137763292055</c:v>
                </c:pt>
                <c:pt idx="1226">
                  <c:v>1.0220523986917325</c:v>
                </c:pt>
                <c:pt idx="1227">
                  <c:v>1.0716237988601018</c:v>
                </c:pt>
                <c:pt idx="1228">
                  <c:v>1.0727477748588847</c:v>
                </c:pt>
                <c:pt idx="1229">
                  <c:v>1.0920835722495563</c:v>
                </c:pt>
                <c:pt idx="1230">
                  <c:v>1.0920835722495563</c:v>
                </c:pt>
                <c:pt idx="1231">
                  <c:v>1.0920835722495563</c:v>
                </c:pt>
                <c:pt idx="1232">
                  <c:v>1.0907108972379107</c:v>
                </c:pt>
                <c:pt idx="1233">
                  <c:v>1.119435538238588</c:v>
                </c:pt>
                <c:pt idx="1234">
                  <c:v>1.1260658601149411</c:v>
                </c:pt>
                <c:pt idx="1235">
                  <c:v>1.1420323467598972</c:v>
                </c:pt>
                <c:pt idx="1236">
                  <c:v>1.138815016909652</c:v>
                </c:pt>
                <c:pt idx="1237">
                  <c:v>1.138815016909652</c:v>
                </c:pt>
                <c:pt idx="1238">
                  <c:v>1.138815016909652</c:v>
                </c:pt>
                <c:pt idx="1239">
                  <c:v>1.1043906337923177</c:v>
                </c:pt>
                <c:pt idx="1240">
                  <c:v>1.1300046858408903</c:v>
                </c:pt>
                <c:pt idx="1241">
                  <c:v>1.1253631868963399</c:v>
                </c:pt>
                <c:pt idx="1242">
                  <c:v>1.145158346567312</c:v>
                </c:pt>
                <c:pt idx="1243">
                  <c:v>1.1307210376414352</c:v>
                </c:pt>
                <c:pt idx="1244">
                  <c:v>1.1307210376414352</c:v>
                </c:pt>
                <c:pt idx="1245">
                  <c:v>1.1307210376414352</c:v>
                </c:pt>
                <c:pt idx="1246">
                  <c:v>1.149966441161868</c:v>
                </c:pt>
                <c:pt idx="1247">
                  <c:v>1.1238114292841028</c:v>
                </c:pt>
                <c:pt idx="1248">
                  <c:v>1.1575469000708223</c:v>
                </c:pt>
                <c:pt idx="1249">
                  <c:v>1.158162469731367</c:v>
                </c:pt>
                <c:pt idx="1250">
                  <c:v>1.1445601902440408</c:v>
                </c:pt>
                <c:pt idx="1251">
                  <c:v>1.1445601902440408</c:v>
                </c:pt>
                <c:pt idx="1252">
                  <c:v>1.1445601902440408</c:v>
                </c:pt>
                <c:pt idx="1253">
                  <c:v>1.1633641272180997</c:v>
                </c:pt>
                <c:pt idx="1254">
                  <c:v>1.1557409835226342</c:v>
                </c:pt>
                <c:pt idx="1255">
                  <c:v>1.1514515556149347</c:v>
                </c:pt>
                <c:pt idx="1256">
                  <c:v>1.1774062652870052</c:v>
                </c:pt>
                <c:pt idx="1257">
                  <c:v>1.1801825018784293</c:v>
                </c:pt>
                <c:pt idx="1258">
                  <c:v>1.1801825018784293</c:v>
                </c:pt>
                <c:pt idx="1259">
                  <c:v>1.1801825018784293</c:v>
                </c:pt>
                <c:pt idx="1260">
                  <c:v>1.1859204904844725</c:v>
                </c:pt>
                <c:pt idx="1261">
                  <c:v>1.197463662814072</c:v>
                </c:pt>
                <c:pt idx="1262">
                  <c:v>1.1885059230093455</c:v>
                </c:pt>
                <c:pt idx="1263">
                  <c:v>1.1985774266688698</c:v>
                </c:pt>
                <c:pt idx="1264">
                  <c:v>1.1651988822183106</c:v>
                </c:pt>
                <c:pt idx="1265">
                  <c:v>1.1651988822183106</c:v>
                </c:pt>
                <c:pt idx="1266">
                  <c:v>1.1651988822183106</c:v>
                </c:pt>
                <c:pt idx="1267">
                  <c:v>1.1550727009791522</c:v>
                </c:pt>
                <c:pt idx="1268">
                  <c:v>1.1542337111702365</c:v>
                </c:pt>
                <c:pt idx="1269">
                  <c:v>1.1571762017776992</c:v>
                </c:pt>
                <c:pt idx="1270">
                  <c:v>1.1342562665134253</c:v>
                </c:pt>
                <c:pt idx="1271">
                  <c:v>1.1611570718838067</c:v>
                </c:pt>
                <c:pt idx="1272">
                  <c:v>1.1611570718838067</c:v>
                </c:pt>
                <c:pt idx="1273">
                  <c:v>1.1611570718838067</c:v>
                </c:pt>
                <c:pt idx="1274">
                  <c:v>1.146612335032278</c:v>
                </c:pt>
                <c:pt idx="1275">
                  <c:v>1.1374108703186523</c:v>
                </c:pt>
                <c:pt idx="1276">
                  <c:v>1.1707169243721465</c:v>
                </c:pt>
                <c:pt idx="1277">
                  <c:v>1.1392706842012128</c:v>
                </c:pt>
                <c:pt idx="1278">
                  <c:v>1.1683504038566128</c:v>
                </c:pt>
                <c:pt idx="1279">
                  <c:v>1.1683504038566128</c:v>
                </c:pt>
                <c:pt idx="1280">
                  <c:v>1.1683504038566128</c:v>
                </c:pt>
                <c:pt idx="1281">
                  <c:v>1.0890460333905527</c:v>
                </c:pt>
                <c:pt idx="1282">
                  <c:v>1.0837893955544984</c:v>
                </c:pt>
                <c:pt idx="1283">
                  <c:v>1.0966412096165743</c:v>
                </c:pt>
                <c:pt idx="1284">
                  <c:v>1.0704922713315854</c:v>
                </c:pt>
                <c:pt idx="1285">
                  <c:v>1.1138533877807388</c:v>
                </c:pt>
                <c:pt idx="1286">
                  <c:v>1.1138533877807388</c:v>
                </c:pt>
                <c:pt idx="1287">
                  <c:v>1.1138533877807388</c:v>
                </c:pt>
                <c:pt idx="1288">
                  <c:v>1.132349703098051</c:v>
                </c:pt>
                <c:pt idx="1289">
                  <c:v>1.1270849236085865</c:v>
                </c:pt>
                <c:pt idx="1290">
                  <c:v>1.1465492707068763</c:v>
                </c:pt>
                <c:pt idx="1291">
                  <c:v>1.140547251100327</c:v>
                </c:pt>
                <c:pt idx="1292">
                  <c:v>1.1391966455074103</c:v>
                </c:pt>
                <c:pt idx="1293">
                  <c:v>1.1391966455074103</c:v>
                </c:pt>
                <c:pt idx="1294">
                  <c:v>1.1391966455074103</c:v>
                </c:pt>
                <c:pt idx="1295">
                  <c:v>1.1709074264798627</c:v>
                </c:pt>
                <c:pt idx="1296">
                  <c:v>1.1755138822480657</c:v>
                </c:pt>
                <c:pt idx="1297">
                  <c:v>1.1576130429187161</c:v>
                </c:pt>
                <c:pt idx="1298">
                  <c:v>1.1436240028416784</c:v>
                </c:pt>
                <c:pt idx="1299">
                  <c:v>1.1021337117574799</c:v>
                </c:pt>
                <c:pt idx="1300">
                  <c:v>1.1021337117574799</c:v>
                </c:pt>
                <c:pt idx="1301">
                  <c:v>1.1021337117574799</c:v>
                </c:pt>
                <c:pt idx="1302">
                  <c:v>1.064007569538203</c:v>
                </c:pt>
                <c:pt idx="1303">
                  <c:v>1.071314328252452</c:v>
                </c:pt>
                <c:pt idx="1304">
                  <c:v>1.0756733223765544</c:v>
                </c:pt>
                <c:pt idx="1305">
                  <c:v>0.980409630832346</c:v>
                </c:pt>
                <c:pt idx="1306">
                  <c:v>0.8531651229093191</c:v>
                </c:pt>
                <c:pt idx="1307">
                  <c:v>0.8531651229093191</c:v>
                </c:pt>
                <c:pt idx="1308">
                  <c:v>0.8531651229093191</c:v>
                </c:pt>
                <c:pt idx="1309">
                  <c:v>0.8432612622034785</c:v>
                </c:pt>
                <c:pt idx="1310">
                  <c:v>0.8249715008739145</c:v>
                </c:pt>
                <c:pt idx="1311">
                  <c:v>0.9752627427898499</c:v>
                </c:pt>
                <c:pt idx="1312">
                  <c:v>0.9303312333520937</c:v>
                </c:pt>
                <c:pt idx="1313">
                  <c:v>0.9726578041630889</c:v>
                </c:pt>
                <c:pt idx="1314">
                  <c:v>0.9726578041630889</c:v>
                </c:pt>
                <c:pt idx="1315">
                  <c:v>0.9726578041630889</c:v>
                </c:pt>
                <c:pt idx="1316">
                  <c:v>1.0007900199350201</c:v>
                </c:pt>
                <c:pt idx="1317">
                  <c:v>1.0098088899698006</c:v>
                </c:pt>
                <c:pt idx="1318">
                  <c:v>0.9814903703939983</c:v>
                </c:pt>
                <c:pt idx="1319">
                  <c:v>0.9903629796104019</c:v>
                </c:pt>
                <c:pt idx="1320">
                  <c:v>0.9903629796104019</c:v>
                </c:pt>
                <c:pt idx="1321">
                  <c:v>0.9903629796104019</c:v>
                </c:pt>
                <c:pt idx="1322">
                  <c:v>0.9903629796104019</c:v>
                </c:pt>
                <c:pt idx="1323">
                  <c:v>0.9582027725013595</c:v>
                </c:pt>
                <c:pt idx="1324">
                  <c:v>1.0077269719262665</c:v>
                </c:pt>
                <c:pt idx="1325">
                  <c:v>1.0332981557343466</c:v>
                </c:pt>
                <c:pt idx="1326">
                  <c:v>1.0630600341474787</c:v>
                </c:pt>
                <c:pt idx="1327">
                  <c:v>1.0554747577586712</c:v>
                </c:pt>
                <c:pt idx="1328">
                  <c:v>1.0554747577586712</c:v>
                </c:pt>
                <c:pt idx="1329">
                  <c:v>1.0554747577586712</c:v>
                </c:pt>
                <c:pt idx="1330">
                  <c:v>1.0460436882659976</c:v>
                </c:pt>
                <c:pt idx="1331">
                  <c:v>1.0570538439253876</c:v>
                </c:pt>
                <c:pt idx="1332">
                  <c:v>1.0596019720962349</c:v>
                </c:pt>
                <c:pt idx="1333">
                  <c:v>1.0561574476304725</c:v>
                </c:pt>
                <c:pt idx="1334">
                  <c:v>1.0979085900596965</c:v>
                </c:pt>
                <c:pt idx="1335">
                  <c:v>1.0979085900596965</c:v>
                </c:pt>
                <c:pt idx="1336">
                  <c:v>1.0979085900596965</c:v>
                </c:pt>
                <c:pt idx="1337">
                  <c:v>1.0869942489279931</c:v>
                </c:pt>
                <c:pt idx="1338">
                  <c:v>1.0546058279155006</c:v>
                </c:pt>
                <c:pt idx="1339">
                  <c:v>1.0168579430409244</c:v>
                </c:pt>
                <c:pt idx="1340">
                  <c:v>1.0012700936751044</c:v>
                </c:pt>
                <c:pt idx="1341">
                  <c:v>0.9868707308505316</c:v>
                </c:pt>
                <c:pt idx="1342">
                  <c:v>0.9868707308505316</c:v>
                </c:pt>
                <c:pt idx="1343">
                  <c:v>0.9868707308505316</c:v>
                </c:pt>
                <c:pt idx="1344">
                  <c:v>1.0204467344175185</c:v>
                </c:pt>
                <c:pt idx="1345">
                  <c:v>1.0292042952086358</c:v>
                </c:pt>
                <c:pt idx="1346">
                  <c:v>1.0471885595661137</c:v>
                </c:pt>
                <c:pt idx="1347">
                  <c:v>1.0714965072012892</c:v>
                </c:pt>
                <c:pt idx="1348">
                  <c:v>1.086539831085052</c:v>
                </c:pt>
                <c:pt idx="1349">
                  <c:v>1.086539831085052</c:v>
                </c:pt>
                <c:pt idx="1350">
                  <c:v>1.086539831085052</c:v>
                </c:pt>
                <c:pt idx="1351">
                  <c:v>1.1079699406847987</c:v>
                </c:pt>
                <c:pt idx="1352">
                  <c:v>1.1108652882349026</c:v>
                </c:pt>
                <c:pt idx="1353">
                  <c:v>1.0934900519786512</c:v>
                </c:pt>
                <c:pt idx="1354">
                  <c:v>1.0998880578064</c:v>
                </c:pt>
                <c:pt idx="1355">
                  <c:v>1.0973579633134256</c:v>
                </c:pt>
                <c:pt idx="1356">
                  <c:v>1.0973579633134256</c:v>
                </c:pt>
                <c:pt idx="1357">
                  <c:v>1.0973579633134256</c:v>
                </c:pt>
                <c:pt idx="1358">
                  <c:v>1.102010760964208</c:v>
                </c:pt>
                <c:pt idx="1359">
                  <c:v>1.1624977059577382</c:v>
                </c:pt>
                <c:pt idx="1360">
                  <c:v>1.0999688536553691</c:v>
                </c:pt>
                <c:pt idx="1361">
                  <c:v>1.0615991617307334</c:v>
                </c:pt>
                <c:pt idx="1362">
                  <c:v>1.065653334476183</c:v>
                </c:pt>
                <c:pt idx="1363">
                  <c:v>1.065653334476183</c:v>
                </c:pt>
                <c:pt idx="1364">
                  <c:v>1.065653334476183</c:v>
                </c:pt>
                <c:pt idx="1365">
                  <c:v>1.083047555345669</c:v>
                </c:pt>
                <c:pt idx="1366">
                  <c:v>1.100203455488804</c:v>
                </c:pt>
                <c:pt idx="1367">
                  <c:v>1.1200195043399708</c:v>
                </c:pt>
                <c:pt idx="1368">
                  <c:v>1.0276924824514753</c:v>
                </c:pt>
                <c:pt idx="1369">
                  <c:v>1.064183263880293</c:v>
                </c:pt>
                <c:pt idx="1370">
                  <c:v>1.064183263880293</c:v>
                </c:pt>
                <c:pt idx="1371">
                  <c:v>1.064183263880293</c:v>
                </c:pt>
                <c:pt idx="1372">
                  <c:v>0.9667584724874294</c:v>
                </c:pt>
                <c:pt idx="1373">
                  <c:v>0.9808003278720467</c:v>
                </c:pt>
                <c:pt idx="1374">
                  <c:v>0.9933365264891059</c:v>
                </c:pt>
                <c:pt idx="1375">
                  <c:v>0.9786060547012256</c:v>
                </c:pt>
                <c:pt idx="1376">
                  <c:v>0.9389888722481949</c:v>
                </c:pt>
                <c:pt idx="1377">
                  <c:v>0.9389888722481949</c:v>
                </c:pt>
                <c:pt idx="1378">
                  <c:v>0.9389888722481949</c:v>
                </c:pt>
                <c:pt idx="1379">
                  <c:v>0.9160547668428365</c:v>
                </c:pt>
                <c:pt idx="1380">
                  <c:v>0.9100519286414441</c:v>
                </c:pt>
                <c:pt idx="1381">
                  <c:v>0.9183170062121155</c:v>
                </c:pt>
                <c:pt idx="1382">
                  <c:v>0.8890159286914634</c:v>
                </c:pt>
                <c:pt idx="1383">
                  <c:v>0.8365893544887322</c:v>
                </c:pt>
                <c:pt idx="1384">
                  <c:v>0.8365893544887322</c:v>
                </c:pt>
                <c:pt idx="1385">
                  <c:v>0.8365893544887322</c:v>
                </c:pt>
                <c:pt idx="1386">
                  <c:v>0.8304268425288266</c:v>
                </c:pt>
                <c:pt idx="1387">
                  <c:v>0.8625613039896045</c:v>
                </c:pt>
                <c:pt idx="1388">
                  <c:v>0.8755241956604676</c:v>
                </c:pt>
                <c:pt idx="1389">
                  <c:v>0.894799162065953</c:v>
                </c:pt>
                <c:pt idx="1390">
                  <c:v>0.9115882695086686</c:v>
                </c:pt>
                <c:pt idx="1391">
                  <c:v>0.9115882695086686</c:v>
                </c:pt>
                <c:pt idx="1392">
                  <c:v>0.9115882695086686</c:v>
                </c:pt>
                <c:pt idx="1393">
                  <c:v>0.929528740947442</c:v>
                </c:pt>
                <c:pt idx="1394">
                  <c:v>0.9462834157434159</c:v>
                </c:pt>
                <c:pt idx="1395">
                  <c:v>0.9542740061070085</c:v>
                </c:pt>
                <c:pt idx="1396">
                  <c:v>0.9724841581766621</c:v>
                </c:pt>
                <c:pt idx="1397">
                  <c:v>0.9862057433367146</c:v>
                </c:pt>
                <c:pt idx="1398">
                  <c:v>0.9862057433367146</c:v>
                </c:pt>
                <c:pt idx="1399">
                  <c:v>0.9862057433367146</c:v>
                </c:pt>
                <c:pt idx="1400">
                  <c:v>0.9767028241148241</c:v>
                </c:pt>
                <c:pt idx="1401">
                  <c:v>0.9804033594009185</c:v>
                </c:pt>
                <c:pt idx="1402">
                  <c:v>0.9896688405261984</c:v>
                </c:pt>
                <c:pt idx="1403">
                  <c:v>1.0031863145245241</c:v>
                </c:pt>
                <c:pt idx="1404">
                  <c:v>0.9206482145199282</c:v>
                </c:pt>
                <c:pt idx="1405">
                  <c:v>0.9206482145199282</c:v>
                </c:pt>
                <c:pt idx="1406">
                  <c:v>0.9206482145199282</c:v>
                </c:pt>
                <c:pt idx="1407">
                  <c:v>0.8989734719703404</c:v>
                </c:pt>
                <c:pt idx="1408">
                  <c:v>0.8956648605663038</c:v>
                </c:pt>
                <c:pt idx="1409">
                  <c:v>0.8734283559365197</c:v>
                </c:pt>
                <c:pt idx="1410">
                  <c:v>0.8780606651450356</c:v>
                </c:pt>
                <c:pt idx="1411">
                  <c:v>0.9210515447852134</c:v>
                </c:pt>
                <c:pt idx="1412">
                  <c:v>0.9210515447852134</c:v>
                </c:pt>
                <c:pt idx="1413">
                  <c:v>0.9210515447852134</c:v>
                </c:pt>
                <c:pt idx="1414">
                  <c:v>0.9018390342207185</c:v>
                </c:pt>
                <c:pt idx="1415">
                  <c:v>0.898910318729568</c:v>
                </c:pt>
                <c:pt idx="1416">
                  <c:v>0.9344500691514184</c:v>
                </c:pt>
                <c:pt idx="1417">
                  <c:v>0.9388036993531967</c:v>
                </c:pt>
                <c:pt idx="1418">
                  <c:v>0.9509020265999482</c:v>
                </c:pt>
                <c:pt idx="1419">
                  <c:v>0.9509020265999482</c:v>
                </c:pt>
                <c:pt idx="1420">
                  <c:v>0.9509020265999482</c:v>
                </c:pt>
                <c:pt idx="1421">
                  <c:v>0.9387626473326056</c:v>
                </c:pt>
                <c:pt idx="1422">
                  <c:v>0.9497838686264812</c:v>
                </c:pt>
                <c:pt idx="1423">
                  <c:v>0.9047917372726322</c:v>
                </c:pt>
                <c:pt idx="1424">
                  <c:v>0.8942357363169877</c:v>
                </c:pt>
                <c:pt idx="1425">
                  <c:v>0.868759266263486</c:v>
                </c:pt>
                <c:pt idx="1426">
                  <c:v>0.868759266263486</c:v>
                </c:pt>
                <c:pt idx="1427">
                  <c:v>0.868759266263486</c:v>
                </c:pt>
                <c:pt idx="1428">
                  <c:v>0.8591615382975792</c:v>
                </c:pt>
                <c:pt idx="1429">
                  <c:v>0.8854189835401429</c:v>
                </c:pt>
                <c:pt idx="1430">
                  <c:v>0.9102636349388695</c:v>
                </c:pt>
                <c:pt idx="1431">
                  <c:v>0.914160044051888</c:v>
                </c:pt>
                <c:pt idx="1432">
                  <c:v>0.9407571995029249</c:v>
                </c:pt>
                <c:pt idx="1433">
                  <c:v>0.9407571995029249</c:v>
                </c:pt>
                <c:pt idx="1434">
                  <c:v>0.9407571995029249</c:v>
                </c:pt>
                <c:pt idx="1435">
                  <c:v>0.9303766146367825</c:v>
                </c:pt>
                <c:pt idx="1436">
                  <c:v>0.9611848528445954</c:v>
                </c:pt>
                <c:pt idx="1437">
                  <c:v>0.9548214142650011</c:v>
                </c:pt>
                <c:pt idx="1438">
                  <c:v>0.9483603069041795</c:v>
                </c:pt>
                <c:pt idx="1439">
                  <c:v>0.9483196878004121</c:v>
                </c:pt>
                <c:pt idx="1440">
                  <c:v>0.9483196878004121</c:v>
                </c:pt>
                <c:pt idx="1441">
                  <c:v>0.9483196878004121</c:v>
                </c:pt>
                <c:pt idx="1442">
                  <c:v>0.9577992543288052</c:v>
                </c:pt>
                <c:pt idx="1443">
                  <c:v>0.9585358738949508</c:v>
                </c:pt>
                <c:pt idx="1444">
                  <c:v>0.9568855858822003</c:v>
                </c:pt>
                <c:pt idx="1445">
                  <c:v>0.9523755486808518</c:v>
                </c:pt>
                <c:pt idx="1446">
                  <c:v>0.9677063523185274</c:v>
                </c:pt>
                <c:pt idx="1447">
                  <c:v>0.9677063523185274</c:v>
                </c:pt>
                <c:pt idx="1448">
                  <c:v>0.9677063523185274</c:v>
                </c:pt>
                <c:pt idx="1449">
                  <c:v>0.9341194979533449</c:v>
                </c:pt>
                <c:pt idx="1450">
                  <c:v>0.9729492465088376</c:v>
                </c:pt>
                <c:pt idx="1451">
                  <c:v>0.9763819803561733</c:v>
                </c:pt>
                <c:pt idx="1452">
                  <c:v>0.9889782379772345</c:v>
                </c:pt>
                <c:pt idx="1453">
                  <c:v>0.9817807212251777</c:v>
                </c:pt>
                <c:pt idx="1454">
                  <c:v>0.9817807212251777</c:v>
                </c:pt>
                <c:pt idx="1455">
                  <c:v>0.9817807212251777</c:v>
                </c:pt>
                <c:pt idx="1456">
                  <c:v>0.992692987866924</c:v>
                </c:pt>
                <c:pt idx="1457">
                  <c:v>0.9844023209394019</c:v>
                </c:pt>
                <c:pt idx="1458">
                  <c:v>0.9993110378095678</c:v>
                </c:pt>
                <c:pt idx="1459">
                  <c:v>1.0201500637650964</c:v>
                </c:pt>
                <c:pt idx="1460">
                  <c:v>1.0239016904041227</c:v>
                </c:pt>
                <c:pt idx="1461">
                  <c:v>1.0239016904041227</c:v>
                </c:pt>
                <c:pt idx="1462">
                  <c:v>1.0239016904041227</c:v>
                </c:pt>
                <c:pt idx="1463">
                  <c:v>1.034570040327944</c:v>
                </c:pt>
                <c:pt idx="1464">
                  <c:v>1.0451030382544877</c:v>
                </c:pt>
                <c:pt idx="1465">
                  <c:v>1.0562045936057958</c:v>
                </c:pt>
                <c:pt idx="1466">
                  <c:v>1.0933253385927646</c:v>
                </c:pt>
                <c:pt idx="1467">
                  <c:v>1.0594887698387052</c:v>
                </c:pt>
                <c:pt idx="1468">
                  <c:v>1.0594887698387052</c:v>
                </c:pt>
                <c:pt idx="1469">
                  <c:v>1.0594887698387052</c:v>
                </c:pt>
                <c:pt idx="1470">
                  <c:v>1.0658153021450847</c:v>
                </c:pt>
                <c:pt idx="1471">
                  <c:v>1.053480951662685</c:v>
                </c:pt>
                <c:pt idx="1472">
                  <c:v>1.0314807411573566</c:v>
                </c:pt>
                <c:pt idx="1473">
                  <c:v>1.0430916552418386</c:v>
                </c:pt>
                <c:pt idx="1474">
                  <c:v>1.0599300376777716</c:v>
                </c:pt>
                <c:pt idx="1475">
                  <c:v>1.0599300376777716</c:v>
                </c:pt>
                <c:pt idx="1476">
                  <c:v>1.0599300376777716</c:v>
                </c:pt>
                <c:pt idx="1477">
                  <c:v>1.0781655486494461</c:v>
                </c:pt>
                <c:pt idx="1478">
                  <c:v>1.0784456219986422</c:v>
                </c:pt>
                <c:pt idx="1479">
                  <c:v>1.0534840412960542</c:v>
                </c:pt>
                <c:pt idx="1480">
                  <c:v>1.0514759436069672</c:v>
                </c:pt>
                <c:pt idx="1481">
                  <c:v>1.0674938468941755</c:v>
                </c:pt>
                <c:pt idx="1482">
                  <c:v>1.0674938468941755</c:v>
                </c:pt>
                <c:pt idx="1483">
                  <c:v>1.0674938468941755</c:v>
                </c:pt>
                <c:pt idx="1484">
                  <c:v>1.0620668688585826</c:v>
                </c:pt>
                <c:pt idx="1485">
                  <c:v>1.0853533736013836</c:v>
                </c:pt>
              </c:numCache>
            </c:numRef>
          </c:val>
          <c:smooth val="0"/>
          <c:extLst>
            <c:ext xmlns:c16="http://schemas.microsoft.com/office/drawing/2014/chart" uri="{C3380CC4-5D6E-409C-BE32-E72D297353CC}">
              <c16:uniqueId val="{00000003-1D55-4091-B462-1B341D70D85C}"/>
            </c:ext>
          </c:extLst>
        </c:ser>
        <c:dLbls>
          <c:showLegendKey val="0"/>
          <c:showVal val="0"/>
          <c:showCatName val="0"/>
          <c:showSerName val="0"/>
          <c:showPercent val="0"/>
          <c:showBubbleSize val="0"/>
        </c:dLbls>
        <c:smooth val="0"/>
        <c:axId val="155939519"/>
        <c:axId val="155939999"/>
      </c:lineChart>
      <c:dateAx>
        <c:axId val="155939519"/>
        <c:scaling>
          <c:orientation val="minMax"/>
        </c:scaling>
        <c:delete val="0"/>
        <c:axPos val="b"/>
        <c:numFmt formatCode="[$-409]mmm/yy;@" sourceLinked="0"/>
        <c:majorTickMark val="none"/>
        <c:minorTickMark val="none"/>
        <c:tickLblPos val="low"/>
        <c:spPr>
          <a:noFill/>
          <a:ln w="9525" cap="flat" cmpd="sng" algn="ctr">
            <a:solidFill>
              <a:srgbClr val="979797"/>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999"/>
        <c:crosses val="autoZero"/>
        <c:auto val="1"/>
        <c:lblOffset val="100"/>
        <c:baseTimeUnit val="days"/>
      </c:dateAx>
      <c:valAx>
        <c:axId val="155939999"/>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 sourceLinked="0"/>
        <c:majorTickMark val="none"/>
        <c:minorTickMark val="none"/>
        <c:tickLblPos val="nextTo"/>
        <c:spPr>
          <a:noFill/>
          <a:ln w="9525">
            <a:no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519"/>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800">
          <a:solidFill>
            <a:schemeClr val="bg1"/>
          </a:solidFill>
          <a:latin typeface="Bierstadt" panose="020B0004020202020204" pitchFamily="34" charset="0"/>
          <a:ea typeface="Bierstadt"/>
          <a:cs typeface="Bierstadt"/>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4582208615920292"/>
          <c:w val="0.45478027332406218"/>
          <c:h val="0.5971060515317913"/>
        </c:manualLayout>
      </c:layout>
      <c:doughnutChart>
        <c:varyColors val="0"/>
        <c:ser>
          <c:idx val="0"/>
          <c:order val="0"/>
          <c:tx>
            <c:strRef>
              <c:f>Sheet1!$B$1</c:f>
              <c:strCache>
                <c:ptCount val="1"/>
                <c:pt idx="0">
                  <c:v>Weight</c:v>
                </c:pt>
              </c:strCache>
            </c:strRef>
          </c:tx>
          <c:spPr>
            <a:solidFill>
              <a:schemeClr val="bg1">
                <a:alpha val="70000"/>
              </a:schemeClr>
            </a:solidFill>
            <a:ln w="19050">
              <a:solidFill>
                <a:schemeClr val="lt1"/>
              </a:solidFill>
            </a:ln>
            <a:effectLst/>
          </c:spPr>
          <c:dPt>
            <c:idx val="0"/>
            <c:bubble3D val="0"/>
            <c:spPr>
              <a:solidFill>
                <a:schemeClr val="bg1">
                  <a:lumMod val="95000"/>
                  <a:alpha val="70000"/>
                </a:schemeClr>
              </a:solidFill>
              <a:ln w="19050">
                <a:solidFill>
                  <a:schemeClr val="lt1"/>
                </a:solidFill>
              </a:ln>
              <a:effectLst/>
            </c:spPr>
            <c:extLst>
              <c:ext xmlns:c16="http://schemas.microsoft.com/office/drawing/2014/chart" uri="{C3380CC4-5D6E-409C-BE32-E72D297353CC}">
                <c16:uniqueId val="{00000001-0B11-408B-B9A7-2C2984287608}"/>
              </c:ext>
            </c:extLst>
          </c:dPt>
          <c:dPt>
            <c:idx val="1"/>
            <c:bubble3D val="0"/>
            <c:spPr>
              <a:solidFill>
                <a:schemeClr val="bg1">
                  <a:alpha val="70000"/>
                </a:schemeClr>
              </a:solidFill>
              <a:ln w="19050">
                <a:solidFill>
                  <a:schemeClr val="lt1"/>
                </a:solidFill>
              </a:ln>
              <a:effectLst/>
            </c:spPr>
            <c:extLst>
              <c:ext xmlns:c16="http://schemas.microsoft.com/office/drawing/2014/chart" uri="{C3380CC4-5D6E-409C-BE32-E72D297353CC}">
                <c16:uniqueId val="{00000003-0B11-408B-B9A7-2C2984287608}"/>
              </c:ext>
            </c:extLst>
          </c:dPt>
          <c:dPt>
            <c:idx val="2"/>
            <c:bubble3D val="0"/>
            <c:spPr>
              <a:solidFill>
                <a:schemeClr val="accent6">
                  <a:lumMod val="50000"/>
                  <a:alpha val="50000"/>
                </a:schemeClr>
              </a:solidFill>
              <a:ln w="19050">
                <a:solidFill>
                  <a:schemeClr val="lt1"/>
                </a:solidFill>
              </a:ln>
              <a:effectLst/>
            </c:spPr>
            <c:extLst>
              <c:ext xmlns:c16="http://schemas.microsoft.com/office/drawing/2014/chart" uri="{C3380CC4-5D6E-409C-BE32-E72D297353CC}">
                <c16:uniqueId val="{00000005-0B11-408B-B9A7-2C2984287608}"/>
              </c:ext>
            </c:extLst>
          </c:dPt>
          <c:dPt>
            <c:idx val="3"/>
            <c:bubble3D val="0"/>
            <c:spPr>
              <a:solidFill>
                <a:schemeClr val="accent6">
                  <a:alpha val="70000"/>
                </a:schemeClr>
              </a:solidFill>
              <a:ln w="19050">
                <a:solidFill>
                  <a:schemeClr val="lt1"/>
                </a:solidFill>
              </a:ln>
              <a:effectLst/>
            </c:spPr>
            <c:extLst>
              <c:ext xmlns:c16="http://schemas.microsoft.com/office/drawing/2014/chart" uri="{C3380CC4-5D6E-409C-BE32-E72D297353CC}">
                <c16:uniqueId val="{00000007-0B11-408B-B9A7-2C2984287608}"/>
              </c:ext>
            </c:extLst>
          </c:dPt>
          <c:dPt>
            <c:idx val="4"/>
            <c:bubble3D val="0"/>
            <c:spPr>
              <a:solidFill>
                <a:schemeClr val="accent6">
                  <a:lumMod val="60000"/>
                  <a:lumOff val="40000"/>
                  <a:alpha val="70000"/>
                </a:schemeClr>
              </a:solidFill>
              <a:ln w="19050">
                <a:solidFill>
                  <a:schemeClr val="lt1"/>
                </a:solidFill>
              </a:ln>
              <a:effectLst/>
            </c:spPr>
            <c:extLst>
              <c:ext xmlns:c16="http://schemas.microsoft.com/office/drawing/2014/chart" uri="{C3380CC4-5D6E-409C-BE32-E72D297353CC}">
                <c16:uniqueId val="{00000009-0B11-408B-B9A7-2C2984287608}"/>
              </c:ext>
            </c:extLst>
          </c:dPt>
          <c:dPt>
            <c:idx val="5"/>
            <c:bubble3D val="0"/>
            <c:spPr>
              <a:solidFill>
                <a:schemeClr val="accent6">
                  <a:lumMod val="40000"/>
                  <a:lumOff val="60000"/>
                  <a:alpha val="70000"/>
                </a:schemeClr>
              </a:solidFill>
              <a:ln w="19050">
                <a:solidFill>
                  <a:schemeClr val="lt1"/>
                </a:solidFill>
              </a:ln>
              <a:effectLst/>
            </c:spPr>
            <c:extLst>
              <c:ext xmlns:c16="http://schemas.microsoft.com/office/drawing/2014/chart" uri="{C3380CC4-5D6E-409C-BE32-E72D297353CC}">
                <c16:uniqueId val="{0000000B-0B11-408B-B9A7-2C2984287608}"/>
              </c:ext>
            </c:extLst>
          </c:dPt>
          <c:dPt>
            <c:idx val="6"/>
            <c:bubble3D val="0"/>
            <c:spPr>
              <a:solidFill>
                <a:schemeClr val="accent6">
                  <a:lumMod val="20000"/>
                  <a:lumOff val="80000"/>
                  <a:alpha val="70000"/>
                </a:schemeClr>
              </a:solidFill>
              <a:ln w="19050">
                <a:solidFill>
                  <a:schemeClr val="lt1"/>
                </a:solidFill>
              </a:ln>
              <a:effectLst/>
            </c:spPr>
            <c:extLst>
              <c:ext xmlns:c16="http://schemas.microsoft.com/office/drawing/2014/chart" uri="{C3380CC4-5D6E-409C-BE32-E72D297353CC}">
                <c16:uniqueId val="{0000000D-0B11-408B-B9A7-2C2984287608}"/>
              </c:ext>
            </c:extLst>
          </c:dPt>
          <c:dPt>
            <c:idx val="7"/>
            <c:bubble3D val="0"/>
            <c:spPr>
              <a:solidFill>
                <a:schemeClr val="bg1">
                  <a:lumMod val="75000"/>
                  <a:alpha val="70000"/>
                </a:schemeClr>
              </a:solidFill>
              <a:ln w="19050">
                <a:solidFill>
                  <a:schemeClr val="lt1"/>
                </a:solidFill>
              </a:ln>
              <a:effectLst/>
            </c:spPr>
            <c:extLst>
              <c:ext xmlns:c16="http://schemas.microsoft.com/office/drawing/2014/chart" uri="{C3380CC4-5D6E-409C-BE32-E72D297353CC}">
                <c16:uniqueId val="{0000000F-0B11-408B-B9A7-2C2984287608}"/>
              </c:ext>
            </c:extLst>
          </c:dPt>
          <c:dPt>
            <c:idx val="8"/>
            <c:bubble3D val="0"/>
            <c:spPr>
              <a:solidFill>
                <a:schemeClr val="bg1">
                  <a:lumMod val="85000"/>
                  <a:alpha val="70000"/>
                </a:schemeClr>
              </a:solidFill>
              <a:ln w="19050">
                <a:solidFill>
                  <a:schemeClr val="lt1"/>
                </a:solidFill>
              </a:ln>
              <a:effectLst/>
            </c:spPr>
            <c:extLst>
              <c:ext xmlns:c16="http://schemas.microsoft.com/office/drawing/2014/chart" uri="{C3380CC4-5D6E-409C-BE32-E72D297353CC}">
                <c16:uniqueId val="{00000011-0B11-408B-B9A7-2C2984287608}"/>
              </c:ext>
            </c:extLst>
          </c:dPt>
          <c:dLbls>
            <c:dLbl>
              <c:idx val="0"/>
              <c:layout>
                <c:manualLayout>
                  <c:x val="4.6065605186413956E-2"/>
                  <c:y val="-6.8403531592005629E-2"/>
                </c:manualLayout>
              </c:layout>
              <c:spPr>
                <a:solidFill>
                  <a:schemeClr val="bg1">
                    <a:lumMod val="9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1-0B11-408B-B9A7-2C2984287608}"/>
                </c:ext>
              </c:extLst>
            </c:dLbl>
            <c:dLbl>
              <c:idx val="1"/>
              <c:layout>
                <c:manualLayout>
                  <c:x val="8.0614695726189844E-2"/>
                  <c:y val="-6.3517565049719546E-2"/>
                </c:manualLayout>
              </c:layout>
              <c:spPr>
                <a:solidFill>
                  <a:schemeClr val="bg1"/>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3-0B11-408B-B9A7-2C2984287608}"/>
                </c:ext>
              </c:extLst>
            </c:dLbl>
            <c:dLbl>
              <c:idx val="6"/>
              <c:layout>
                <c:manualLayout>
                  <c:x val="1.5113337943908963E-7"/>
                  <c:y val="1.4657899626858305E-2"/>
                </c:manualLayout>
              </c:layout>
              <c:spPr>
                <a:solidFill>
                  <a:schemeClr val="accent6">
                    <a:lumMod val="20000"/>
                    <a:lumOff val="8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D-0B11-408B-B9A7-2C2984287608}"/>
                </c:ext>
              </c:extLst>
            </c:dLbl>
            <c:dLbl>
              <c:idx val="7"/>
              <c:layout>
                <c:manualLayout>
                  <c:x val="-7.6774245421263841E-3"/>
                  <c:y val="-2.93157992537167E-2"/>
                </c:manualLayout>
              </c:layout>
              <c:spPr>
                <a:solidFill>
                  <a:schemeClr val="bg1">
                    <a:lumMod val="7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F-0B11-408B-B9A7-2C2984287608}"/>
                </c:ext>
              </c:extLst>
            </c:dLbl>
            <c:dLbl>
              <c:idx val="8"/>
              <c:layout>
                <c:manualLayout>
                  <c:x val="1.5113337943908963E-7"/>
                  <c:y val="-8.3061431218863988E-2"/>
                </c:manualLayout>
              </c:layout>
              <c:spPr>
                <a:solidFill>
                  <a:schemeClr val="bg1">
                    <a:lumMod val="8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6864809922436244E-2"/>
                    </c:manualLayout>
                  </c15:layout>
                </c:ext>
                <c:ext xmlns:c16="http://schemas.microsoft.com/office/drawing/2014/chart" uri="{C3380CC4-5D6E-409C-BE32-E72D297353CC}">
                  <c16:uniqueId val="{00000011-0B11-408B-B9A7-2C298428760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10"/>
                <c:pt idx="0">
                  <c:v>Transportation</c:v>
                </c:pt>
                <c:pt idx="1">
                  <c:v>Industrials</c:v>
                </c:pt>
                <c:pt idx="2">
                  <c:v>Consumer Discretionary</c:v>
                </c:pt>
                <c:pt idx="3">
                  <c:v>Technology</c:v>
                </c:pt>
                <c:pt idx="4">
                  <c:v>Consumer Staples</c:v>
                </c:pt>
                <c:pt idx="5">
                  <c:v>Materials</c:v>
                </c:pt>
                <c:pt idx="6">
                  <c:v>Financial services</c:v>
                </c:pt>
                <c:pt idx="7">
                  <c:v>Healthcare</c:v>
                </c:pt>
                <c:pt idx="8">
                  <c:v>Utilities</c:v>
                </c:pt>
                <c:pt idx="9">
                  <c:v>Cash</c:v>
                </c:pt>
              </c:strCache>
            </c:strRef>
          </c:cat>
          <c:val>
            <c:numRef>
              <c:f>Sheet1!$B$2:$B$11</c:f>
              <c:numCache>
                <c:formatCode>General</c:formatCode>
                <c:ptCount val="10"/>
                <c:pt idx="0">
                  <c:v>0.0434753227300984</c:v>
                </c:pt>
                <c:pt idx="1">
                  <c:v>0.06118098162950726</c:v>
                </c:pt>
                <c:pt idx="2">
                  <c:v>0.09493236830602786</c:v>
                </c:pt>
                <c:pt idx="3">
                  <c:v>0.3010616704276201</c:v>
                </c:pt>
                <c:pt idx="4">
                  <c:v>0.21332978020362467</c:v>
                </c:pt>
                <c:pt idx="5">
                  <c:v>0.07935634116169918</c:v>
                </c:pt>
                <c:pt idx="6">
                  <c:v>0.13001859563783677</c:v>
                </c:pt>
                <c:pt idx="7">
                  <c:v>0.024957194079747124</c:v>
                </c:pt>
                <c:pt idx="8">
                  <c:v>0.04488730725594899</c:v>
                </c:pt>
                <c:pt idx="9">
                  <c:v>0.006800438567889719</c:v>
                </c:pt>
              </c:numCache>
            </c:numRef>
          </c:val>
          <c:extLst>
            <c:ext xmlns:c16="http://schemas.microsoft.com/office/drawing/2014/chart" uri="{C3380CC4-5D6E-409C-BE32-E72D297353CC}">
              <c16:uniqueId val="{00000012-0B11-408B-B9A7-2C298428760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0833333333333334"/>
          <c:w val="0.48333333333333334"/>
          <c:h val="0.72499999999999998"/>
        </c:manualLayout>
      </c:layout>
      <c:doughnutChart>
        <c:varyColors val="1"/>
        <c:ser>
          <c:idx val="0"/>
          <c:order val="0"/>
          <c:tx>
            <c:strRef>
              <c:f>Sheet1!$B$1</c:f>
              <c:strCache>
                <c:ptCount val="1"/>
                <c:pt idx="0">
                  <c:v>Weight</c:v>
                </c:pt>
              </c:strCache>
            </c:strRef>
          </c:tx>
          <c:spPr>
            <a:ln w="19050">
              <a:solidFill>
                <a:schemeClr val="bg1"/>
              </a:solidFill>
              <a:prstDash val="solid"/>
            </a:ln>
          </c:spPr>
          <c:dPt>
            <c:idx val="0"/>
            <c:bubble3D val="0"/>
            <c:spPr>
              <a:solidFill>
                <a:schemeClr val="accent6">
                  <a:lumMod val="50000"/>
                  <a:alpha val="70000"/>
                </a:schemeClr>
              </a:solidFill>
              <a:ln w="19050">
                <a:solidFill>
                  <a:schemeClr val="bg1"/>
                </a:solidFill>
                <a:prstDash val="solid"/>
              </a:ln>
              <a:effectLst/>
            </c:spPr>
            <c:extLst>
              <c:ext xmlns:c16="http://schemas.microsoft.com/office/drawing/2014/chart" uri="{C3380CC4-5D6E-409C-BE32-E72D297353CC}">
                <c16:uniqueId val="{00000001-221E-412B-872B-E2E00E15FA86}"/>
              </c:ext>
            </c:extLst>
          </c:dPt>
          <c:dPt>
            <c:idx val="1"/>
            <c:bubble3D val="0"/>
            <c:spPr>
              <a:solidFill>
                <a:schemeClr val="accent6">
                  <a:alpha val="70000"/>
                </a:schemeClr>
              </a:solidFill>
              <a:ln w="19050">
                <a:solidFill>
                  <a:schemeClr val="bg1"/>
                </a:solidFill>
                <a:prstDash val="solid"/>
              </a:ln>
              <a:effectLst/>
            </c:spPr>
            <c:extLst>
              <c:ext xmlns:c16="http://schemas.microsoft.com/office/drawing/2014/chart" uri="{C3380CC4-5D6E-409C-BE32-E72D297353CC}">
                <c16:uniqueId val="{00000003-221E-412B-872B-E2E00E15FA86}"/>
              </c:ext>
            </c:extLst>
          </c:dPt>
          <c:dPt>
            <c:idx val="2"/>
            <c:bubble3D val="0"/>
            <c:spPr>
              <a:solidFill>
                <a:schemeClr val="accent6">
                  <a:lumMod val="60000"/>
                  <a:lumOff val="40000"/>
                  <a:alpha val="70000"/>
                </a:schemeClr>
              </a:solidFill>
              <a:ln w="19050">
                <a:solidFill>
                  <a:schemeClr val="bg1"/>
                </a:solidFill>
                <a:prstDash val="solid"/>
              </a:ln>
              <a:effectLst/>
            </c:spPr>
            <c:extLst>
              <c:ext xmlns:c16="http://schemas.microsoft.com/office/drawing/2014/chart" uri="{C3380CC4-5D6E-409C-BE32-E72D297353CC}">
                <c16:uniqueId val="{00000005-221E-412B-872B-E2E00E15FA86}"/>
              </c:ext>
            </c:extLst>
          </c:dPt>
          <c:dPt>
            <c:idx val="3"/>
            <c:bubble3D val="0"/>
            <c:spPr>
              <a:solidFill>
                <a:schemeClr val="accent6">
                  <a:lumMod val="40000"/>
                  <a:lumOff val="60000"/>
                  <a:alpha val="70000"/>
                </a:schemeClr>
              </a:solidFill>
              <a:ln w="19050">
                <a:solidFill>
                  <a:schemeClr val="bg1"/>
                </a:solidFill>
                <a:prstDash val="solid"/>
              </a:ln>
              <a:effectLst/>
            </c:spPr>
            <c:extLst>
              <c:ext xmlns:c16="http://schemas.microsoft.com/office/drawing/2014/chart" uri="{C3380CC4-5D6E-409C-BE32-E72D297353CC}">
                <c16:uniqueId val="{00000007-221E-412B-872B-E2E00E15FA86}"/>
              </c:ext>
            </c:extLst>
          </c:dPt>
          <c:dPt>
            <c:idx val="4"/>
            <c:bubble3D val="0"/>
            <c:spPr>
              <a:solidFill>
                <a:schemeClr val="accent6">
                  <a:lumMod val="40000"/>
                  <a:lumOff val="60000"/>
                </a:schemeClr>
              </a:solidFill>
              <a:ln w="19050">
                <a:solidFill>
                  <a:schemeClr val="bg1"/>
                </a:solidFill>
                <a:prstDash val="solid"/>
              </a:ln>
              <a:effectLst/>
            </c:spPr>
            <c:extLst>
              <c:ext xmlns:c16="http://schemas.microsoft.com/office/drawing/2014/chart" uri="{C3380CC4-5D6E-409C-BE32-E72D297353CC}">
                <c16:uniqueId val="{00000009-221E-412B-872B-E2E00E15FA86}"/>
              </c:ext>
            </c:extLst>
          </c:dPt>
          <c:dLbls>
            <c:dLbl>
              <c:idx val="4"/>
              <c:layout>
                <c:manualLayout>
                  <c:x val="1.5113337943908963E-7"/>
                  <c:y val="-3.4201765796002842E-2"/>
                </c:manualLayout>
              </c:layout>
              <c:numFmt formatCode="0%" sourceLinked="0"/>
              <c:spPr>
                <a:solidFill>
                  <a:schemeClr val="accent6">
                    <a:lumMod val="40000"/>
                    <a:lumOff val="6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9-221E-412B-872B-E2E00E15FA8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orth America</c:v>
                </c:pt>
                <c:pt idx="1">
                  <c:v>Europe</c:v>
                </c:pt>
                <c:pt idx="2">
                  <c:v>Asia</c:v>
                </c:pt>
                <c:pt idx="3">
                  <c:v>Africa</c:v>
                </c:pt>
                <c:pt idx="4">
                  <c:v>Cash</c:v>
                </c:pt>
              </c:strCache>
            </c:strRef>
          </c:cat>
          <c:val>
            <c:numRef>
              <c:f>Sheet1!$B$2:$B$6</c:f>
              <c:numCache>
                <c:formatCode>General</c:formatCode>
                <c:ptCount val="5"/>
                <c:pt idx="0">
                  <c:v>0.6843331062140103</c:v>
                </c:pt>
                <c:pt idx="1">
                  <c:v>0.17545489939295086</c:v>
                </c:pt>
                <c:pt idx="2">
                  <c:v>0.08598923446429323</c:v>
                </c:pt>
                <c:pt idx="3">
                  <c:v>0.047422321360855835</c:v>
                </c:pt>
                <c:pt idx="4">
                  <c:v>0.006800438567889719</c:v>
                </c:pt>
              </c:numCache>
            </c:numRef>
          </c:val>
          <c:extLst>
            <c:ext xmlns:c16="http://schemas.microsoft.com/office/drawing/2014/chart" uri="{C3380CC4-5D6E-409C-BE32-E72D297353CC}">
              <c16:uniqueId val="{0000000A-221E-412B-872B-E2E00E15FA8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177D4A4-2BD7-A4F5-363F-90280D954C7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83B0B4-4DB8-4356-89CF-1B6DF44DDB31}" type="datetimeFigureOut">
              <a:rPr lang="en-ZA" smtClean="0"/>
              <a:t>2025/10/29</a:t>
            </a:fld>
            <a:endParaRPr lang="en-ZA"/>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DABF5-BA7F-4826-9472-9B655D25709B}" type="slidenum">
              <a:rPr lang="en-ZA" smtClean="0"/>
              <a:t>‹#›</a:t>
            </a:fld>
            <a:endParaRPr lang="en-ZA"/>
          </a:p>
        </p:txBody>
      </p:sp>
    </p:spTree>
    <p:extLst>
      <p:ext uri="{BB962C8B-B14F-4D97-AF65-F5344CB8AC3E}">
        <p14:creationId xmlns:p14="http://schemas.microsoft.com/office/powerpoint/2010/main" val="140558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650DABF5-BA7F-4826-9472-9B655D25709B}" type="slidenum">
              <a:rPr lang="en-ZA" smtClean="0"/>
              <a:t>1</a:t>
            </a:fld>
            <a:endParaRPr lang="en-ZA"/>
          </a:p>
        </p:txBody>
      </p:sp>
    </p:spTree>
    <p:extLst>
      <p:ext uri="{BB962C8B-B14F-4D97-AF65-F5344CB8AC3E}">
        <p14:creationId xmlns:p14="http://schemas.microsoft.com/office/powerpoint/2010/main" val="309567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A5AF-FF03-F7F2-3CE6-1602601F8A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47D27EC-E08E-F506-4546-8B2A87D6557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25348CF-22CF-96A1-7361-92C86CE0430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38BFA3D-73A0-D53D-982C-61E3ED42827C}"/>
              </a:ext>
            </a:extLst>
          </p:cNvPr>
          <p:cNvSpPr>
            <a:spLocks noGrp="1"/>
          </p:cNvSpPr>
          <p:nvPr>
            <p:ph type="sldNum" sz="quarter" idx="5"/>
          </p:nvPr>
        </p:nvSpPr>
        <p:spPr/>
        <p:txBody>
          <a:bodyPr/>
          <a:lstStyle/>
          <a:p>
            <a:fld id="{650DABF5-BA7F-4826-9472-9B655D25709B}" type="slidenum">
              <a:rPr lang="en-ZA" smtClean="0"/>
              <a:t>2</a:t>
            </a:fld>
            <a:endParaRPr lang="en-ZA"/>
          </a:p>
        </p:txBody>
      </p:sp>
    </p:spTree>
    <p:extLst>
      <p:ext uri="{BB962C8B-B14F-4D97-AF65-F5344CB8AC3E}">
        <p14:creationId xmlns:p14="http://schemas.microsoft.com/office/powerpoint/2010/main" val="3419577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185574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219464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368578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581671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9021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420764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9147E2-1A9D-4971-9230-11EE99FA0237}" type="datetimeFigureOut">
              <a:rPr lang="en-ZA" smtClean="0"/>
              <a:t>2025/10/29</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63695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9147E2-1A9D-4971-9230-11EE99FA0237}" type="datetimeFigureOut">
              <a:rPr lang="en-ZA" smtClean="0"/>
              <a:t>2025/10/29</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75198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92C441E-A24D-36FE-C833-C05192970D1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Date Placeholder 1"/>
          <p:cNvSpPr>
            <a:spLocks noGrp="1"/>
          </p:cNvSpPr>
          <p:nvPr>
            <p:ph type="dt" sz="half" idx="10"/>
          </p:nvPr>
        </p:nvSpPr>
        <p:spPr/>
        <p:txBody>
          <a:bodyPr/>
          <a:lstStyle/>
          <a:p>
            <a:fld id="{899147E2-1A9D-4971-9230-11EE99FA0237}" type="datetimeFigureOut">
              <a:rPr lang="en-ZA" smtClean="0"/>
              <a:t>2025/10/29</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709778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47780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38317851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899147E2-1A9D-4971-9230-11EE99FA0237}" type="datetimeFigureOut">
              <a:rPr lang="en-ZA" smtClean="0"/>
              <a:t>2025/10/29</a:t>
            </a:fld>
            <a:endParaRPr lang="en-ZA"/>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1079F54-34F3-4503-B9A3-E06A6762BE0B}" type="slidenum">
              <a:rPr lang="en-ZA" smtClean="0"/>
              <a:t>‹#›</a:t>
            </a:fld>
            <a:endParaRPr lang="en-ZA"/>
          </a:p>
        </p:txBody>
      </p:sp>
    </p:spTree>
    <p:extLst>
      <p:ext uri="{BB962C8B-B14F-4D97-AF65-F5344CB8AC3E}">
        <p14:creationId xmlns:p14="http://schemas.microsoft.com/office/powerpoint/2010/main" val="28170454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9.png"/><Relationship Id="rId15" Type="http://schemas.microsoft.com/office/2007/relationships/hdphoto" Target="../media/hdphoto1.wdp"/><Relationship Id="rId16" Type="http://schemas.openxmlformats.org/officeDocument/2006/relationships/image" Target="../media/image10.png"/><Relationship Id="rId17" Type="http://schemas.microsoft.com/office/2007/relationships/hdphoto" Target="../media/hdphoto2.wdp"/><Relationship Id="rId18" Type="http://schemas.openxmlformats.org/officeDocument/2006/relationships/image" Target="../media/image11.png"/><Relationship Id="rId19" Type="http://schemas.openxmlformats.org/officeDocument/2006/relationships/image" Target="../media/image12.png"/><Relationship Id="rId20" Type="http://schemas.microsoft.com/office/2007/relationships/hdphoto" Target="../media/hdphoto3.wdp"/><Relationship Id="rId21" Type="http://schemas.openxmlformats.org/officeDocument/2006/relationships/image" Target="../media/image13.png"/><Relationship Id="rId22" Type="http://schemas.microsoft.com/office/2007/relationships/hdphoto" Target="../media/hdphoto4.wdp"/><Relationship Id="rId23"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14.png"/><Relationship Id="rId15" Type="http://schemas.openxmlformats.org/officeDocument/2006/relationships/image" Target="../media/image15.svg"/><Relationship Id="rId16" Type="http://schemas.openxmlformats.org/officeDocument/2006/relationships/image" Target="../media/image16.png"/><Relationship Id="rId17" Type="http://schemas.openxmlformats.org/officeDocument/2006/relationships/image" Target="../media/image17.svg"/><Relationship Id="rId18" Type="http://schemas.openxmlformats.org/officeDocument/2006/relationships/image" Target="../media/image18.png"/><Relationship Id="rId19" Type="http://schemas.openxmlformats.org/officeDocument/2006/relationships/image" Target="../media/image19.svg"/><Relationship Id="rId20" Type="http://schemas.openxmlformats.org/officeDocument/2006/relationships/image" Target="../media/image20.png"/><Relationship Id="rId21" Type="http://schemas.openxmlformats.org/officeDocument/2006/relationships/image" Target="../media/image21.svg"/><Relationship Id="rId22" Type="http://schemas.openxmlformats.org/officeDocument/2006/relationships/image" Target="../media/image22.png"/><Relationship Id="rId23" Type="http://schemas.openxmlformats.org/officeDocument/2006/relationships/image" Target="../media/image23.svg"/><Relationship Id="rId24" Type="http://schemas.openxmlformats.org/officeDocument/2006/relationships/image" Target="../media/image24.png"/><Relationship Id="rId25" Type="http://schemas.openxmlformats.org/officeDocument/2006/relationships/image" Target="../media/image25.svg"/><Relationship Id="rId26" Type="http://schemas.openxmlformats.org/officeDocument/2006/relationships/image" Target="../media/image26.png"/><Relationship Id="rId27" Type="http://schemas.openxmlformats.org/officeDocument/2006/relationships/image" Target="../media/image27.svg"/><Relationship Id="rId28" Type="http://schemas.openxmlformats.org/officeDocument/2006/relationships/image" Target="../media/image28.png"/><Relationship Id="rId29" Type="http://schemas.openxmlformats.org/officeDocument/2006/relationships/image" Target="../media/image29.svg"/><Relationship Id="rId30" Type="http://schemas.openxmlformats.org/officeDocument/2006/relationships/image" Target="../media/image30.png"/><Relationship Id="rId31" Type="http://schemas.openxmlformats.org/officeDocument/2006/relationships/image" Target="../media/image31.svg"/><Relationship Id="rId32" Type="http://schemas.openxmlformats.org/officeDocument/2006/relationships/image" Target="../media/image32.png"/><Relationship Id="rId33" Type="http://schemas.openxmlformats.org/officeDocument/2006/relationships/image" Target="../media/image33.svg"/><Relationship Id="rId34" Type="http://schemas.openxmlformats.org/officeDocument/2006/relationships/image" Target="../media/image34.png"/><Relationship Id="rId35" Type="http://schemas.openxmlformats.org/officeDocument/2006/relationships/image" Target="../media/image35.svg"/><Relationship Id="rId36" Type="http://schemas.openxmlformats.org/officeDocument/2006/relationships/image" Target="../media/image36.png"/><Relationship Id="rId37" Type="http://schemas.openxmlformats.org/officeDocument/2006/relationships/image" Target="../media/image37.svg"/><Relationship Id="rId38" Type="http://schemas.openxmlformats.org/officeDocument/2006/relationships/image" Target="../media/image38.png"/><Relationship Id="rId39" Type="http://schemas.openxmlformats.org/officeDocument/2006/relationships/image" Target="../media/image39.svg"/><Relationship Id="rId40" Type="http://schemas.openxmlformats.org/officeDocument/2006/relationships/image" Target="../media/image40.png"/><Relationship Id="rId41" Type="http://schemas.openxmlformats.org/officeDocument/2006/relationships/image" Target="../media/image41.svg"/><Relationship Id="rId42" Type="http://schemas.openxmlformats.org/officeDocument/2006/relationships/image" Target="../media/image42.png"/><Relationship Id="rId43" Type="http://schemas.microsoft.com/office/2007/relationships/hdphoto" Target="../media/hdphoto5.wdp"/><Relationship Id="rId44" Type="http://schemas.openxmlformats.org/officeDocument/2006/relationships/image" Target="../media/image43.png"/><Relationship Id="rId45" Type="http://schemas.microsoft.com/office/2007/relationships/hdphoto" Target="../media/hdphoto6.wdp"/><Relationship Id="rId46" Type="http://schemas.openxmlformats.org/officeDocument/2006/relationships/image" Target="../media/image44.png"/><Relationship Id="rId47" Type="http://schemas.microsoft.com/office/2007/relationships/hdphoto" Target="../media/hdphoto7.wdp"/><Relationship Id="rId48" Type="http://schemas.openxmlformats.org/officeDocument/2006/relationships/chart" Target="../charts/chart2.xml"/><Relationship Id="rId49"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7817319-FBEE-F9F8-A63A-DAF0A4BCAD55}"/>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05FBD931-77C6-E74C-6837-20795E9F3819}"/>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F7FF33B2-B67E-2C47-A922-E3B18CE0ACAA}"/>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AA4FED92-FC9E-4AFE-A0C3-5F67F10831EF}"/>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sp>
        <p:nvSpPr>
          <p:cNvPr id="61" name="PORTFOLIO_NAME">
            <a:extLst>
              <a:ext uri="{FF2B5EF4-FFF2-40B4-BE49-F238E27FC236}">
                <a16:creationId xmlns:a16="http://schemas.microsoft.com/office/drawing/2014/main" id="{B2735D28-9572-422E-9448-96127A3D51A0}"/>
              </a:ext>
            </a:extLst>
          </p:cNvPr>
          <p:cNvSpPr txBox="1"/>
          <p:nvPr/>
        </p:nvSpPr>
        <p:spPr>
          <a:xfrm>
            <a:off x="292608" y="348002"/>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
            <a:extLst>
              <a:ext uri="{FF2B5EF4-FFF2-40B4-BE49-F238E27FC236}">
                <a16:creationId xmlns:a16="http://schemas.microsoft.com/office/drawing/2014/main" id="{54AD899D-67A1-4034-848B-0D2C28E83CE6}"/>
              </a:ext>
            </a:extLst>
          </p:cNvPr>
          <p:cNvSpPr txBox="1"/>
          <p:nvPr/>
        </p:nvSpPr>
        <p:spPr>
          <a:xfrm>
            <a:off x="292608" y="588777"/>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nvGrpSpPr>
          <p:cNvPr id="1028" name="Group 1027">
            <a:extLst>
              <a:ext uri="{FF2B5EF4-FFF2-40B4-BE49-F238E27FC236}">
                <a16:creationId xmlns:a16="http://schemas.microsoft.com/office/drawing/2014/main" id="{CAABA66D-E5A9-A768-B6E3-25B349636CF6}"/>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960CACED-06CB-3EFD-A814-35C4F800DF45}"/>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90042EF2-03E5-FB3F-427B-CD408CFBC546}"/>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85142DE5-3361-D9D8-B2E7-6EE43510FC64}"/>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09BDD64A-648A-D3B1-1CD1-D88F68203600}"/>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A5111EF6-7BB1-A829-52E0-DABA4A249720}"/>
              </a:ext>
            </a:extLst>
          </p:cNvPr>
          <p:cNvSpPr/>
          <p:nvPr/>
        </p:nvSpPr>
        <p:spPr>
          <a:xfrm>
            <a:off x="292608"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93ECBF78-E095-0FD7-1064-267F2E9C4CC2}"/>
              </a:ext>
            </a:extLst>
          </p:cNvPr>
          <p:cNvSpPr/>
          <p:nvPr/>
        </p:nvSpPr>
        <p:spPr>
          <a:xfrm>
            <a:off x="292608" y="6853355"/>
            <a:ext cx="6272784" cy="277222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56CCE26D-359B-7FB8-88E1-4FA9AE8978ED}"/>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1</a:t>
            </a:r>
            <a:endParaRPr lang="en-GB" sz="1200" dirty="0">
              <a:solidFill>
                <a:schemeClr val="bg1"/>
              </a:solidFill>
            </a:endParaRPr>
          </a:p>
        </p:txBody>
      </p:sp>
      <p:sp>
        <p:nvSpPr>
          <p:cNvPr id="1048" name="Rectangle 1047">
            <a:extLst>
              <a:ext uri="{FF2B5EF4-FFF2-40B4-BE49-F238E27FC236}">
                <a16:creationId xmlns:a16="http://schemas.microsoft.com/office/drawing/2014/main" id="{7962D9A7-5942-AC53-AE92-AF721B36A947}"/>
              </a:ext>
            </a:extLst>
          </p:cNvPr>
          <p:cNvSpPr/>
          <p:nvPr/>
        </p:nvSpPr>
        <p:spPr>
          <a:xfrm>
            <a:off x="3483000"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06B72A2C-5F73-D79D-13B4-8D727F7F5D7D}"/>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0A71B9AF-2A7E-58DB-5199-3098FB55D63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AA11C72D-7F22-8F5E-781C-48AC4F0C3D51}"/>
                </a:ext>
              </a:extLst>
            </p:cNvPr>
            <p:cNvSpPr/>
            <p:nvPr/>
          </p:nvSpPr>
          <p:spPr>
            <a:xfrm>
              <a:off x="30022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I</a:t>
              </a:r>
              <a:r>
                <a:rPr lang="en-GB" sz="1000" b="1" dirty="0" err="1">
                  <a:solidFill>
                    <a:schemeClr val="bg1"/>
                  </a:solidFill>
                  <a:latin typeface="Bierstadt"/>
                </a:rPr>
                <a:t>nvestment</a:t>
              </a:r>
              <a:r>
                <a:rPr lang="en-GB" sz="1000" b="1" dirty="0">
                  <a:solidFill>
                    <a:schemeClr val="bg1"/>
                  </a:solidFill>
                  <a:latin typeface="Bierstadt"/>
                </a:rPr>
                <a:t> objective &amp; philosophy</a:t>
              </a:r>
            </a:p>
          </p:txBody>
        </p:sp>
      </p:grpSp>
      <p:sp>
        <p:nvSpPr>
          <p:cNvPr id="1051" name="TextBox 1050">
            <a:extLst>
              <a:ext uri="{FF2B5EF4-FFF2-40B4-BE49-F238E27FC236}">
                <a16:creationId xmlns:a16="http://schemas.microsoft.com/office/drawing/2014/main" id="{D48B7A90-0C92-ED60-2FC0-B121F36CC0F4}"/>
              </a:ext>
            </a:extLst>
          </p:cNvPr>
          <p:cNvSpPr txBox="1"/>
          <p:nvPr/>
        </p:nvSpPr>
        <p:spPr>
          <a:xfrm>
            <a:off x="292607" y="1246239"/>
            <a:ext cx="3082392" cy="230832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Kukula Global Growth Portfolio is a moderate- to high-risk, growth-oriented equity portfolio designed to deliver long-term returns through capital appreciation and dividends. The portfolio seeks exposure to global leaders in sectors driving structural change, including technology, financials, and critical resources, while maintaining diversification across regions and industries.</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dirty="0">
              <a:solidFill>
                <a:schemeClr val="bg1"/>
              </a:solidFill>
              <a:latin typeface="Bierstadt" panose="020B0004020202020204" pitchFamily="34" charset="0"/>
              <a:cs typeface="Helvetica"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We invest in responsible, high-quality companies with strong fundamentals, sustainable growth prospects, and sound governance. Our investment process is active and research-driven. Kukula’s portfolio management is characterized by agility, allowing us to swiftly adjust positioning and restructure holdings when market conditions change, protecting value while capturing opportunities in emerging global trends.</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4" name="Group 3">
            <a:extLst>
              <a:ext uri="{FF2B5EF4-FFF2-40B4-BE49-F238E27FC236}">
                <a16:creationId xmlns:a16="http://schemas.microsoft.com/office/drawing/2014/main" id="{2363E094-084C-5C1E-34A6-CE0088951EEF}"/>
              </a:ext>
            </a:extLst>
          </p:cNvPr>
          <p:cNvGrpSpPr/>
          <p:nvPr/>
        </p:nvGrpSpPr>
        <p:grpSpPr>
          <a:xfrm>
            <a:off x="845287" y="4363577"/>
            <a:ext cx="1694214" cy="775351"/>
            <a:chOff x="845287" y="3807317"/>
            <a:chExt cx="1694214" cy="775351"/>
          </a:xfrm>
        </p:grpSpPr>
        <p:cxnSp>
          <p:nvCxnSpPr>
            <p:cNvPr id="1070" name="Straight Connector 1069">
              <a:extLst>
                <a:ext uri="{FF2B5EF4-FFF2-40B4-BE49-F238E27FC236}">
                  <a16:creationId xmlns:a16="http://schemas.microsoft.com/office/drawing/2014/main" id="{2602B7CB-5E08-C13E-40FB-3E3190CAABE5}"/>
                </a:ext>
              </a:extLst>
            </p:cNvPr>
            <p:cNvCxnSpPr/>
            <p:nvPr/>
          </p:nvCxnSpPr>
          <p:spPr>
            <a:xfrm>
              <a:off x="845287" y="3901103"/>
              <a:ext cx="176042" cy="0"/>
            </a:xfrm>
            <a:prstGeom prst="line">
              <a:avLst/>
            </a:prstGeom>
            <a:ln w="38100">
              <a:solidFill>
                <a:srgbClr val="92D050"/>
              </a:solidFill>
              <a:prstDash val="solid"/>
            </a:ln>
          </p:spPr>
          <p:style>
            <a:lnRef idx="1">
              <a:schemeClr val="accent1"/>
            </a:lnRef>
            <a:fillRef idx="0">
              <a:schemeClr val="accent1"/>
            </a:fillRef>
            <a:effectRef idx="0">
              <a:schemeClr val="accent1"/>
            </a:effectRef>
            <a:fontRef idx="minor">
              <a:schemeClr val="tx1"/>
            </a:fontRef>
          </p:style>
        </p:cxnSp>
        <p:sp>
          <p:nvSpPr>
            <p:cNvPr id="1075" name="Rectangle 1074">
              <a:extLst>
                <a:ext uri="{FF2B5EF4-FFF2-40B4-BE49-F238E27FC236}">
                  <a16:creationId xmlns:a16="http://schemas.microsoft.com/office/drawing/2014/main" id="{6025C487-0FBB-0D38-1A73-63B7E914BB20}"/>
                </a:ext>
              </a:extLst>
            </p:cNvPr>
            <p:cNvSpPr/>
            <p:nvPr/>
          </p:nvSpPr>
          <p:spPr>
            <a:xfrm>
              <a:off x="1021329" y="380731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USD)</a:t>
              </a:r>
              <a:endParaRPr lang="en-GB" sz="1400" dirty="0">
                <a:solidFill>
                  <a:schemeClr val="bg1"/>
                </a:solidFill>
                <a:latin typeface="Bierstadt" panose="020B0004020202020204" pitchFamily="34" charset="0"/>
              </a:endParaRPr>
            </a:p>
          </p:txBody>
        </p:sp>
        <p:cxnSp>
          <p:nvCxnSpPr>
            <p:cNvPr id="1068" name="Straight Connector 1067">
              <a:extLst>
                <a:ext uri="{FF2B5EF4-FFF2-40B4-BE49-F238E27FC236}">
                  <a16:creationId xmlns:a16="http://schemas.microsoft.com/office/drawing/2014/main" id="{0EECB6F3-3516-0EF1-ED24-EDF6996DBBAD}"/>
                </a:ext>
              </a:extLst>
            </p:cNvPr>
            <p:cNvCxnSpPr/>
            <p:nvPr/>
          </p:nvCxnSpPr>
          <p:spPr>
            <a:xfrm>
              <a:off x="845287" y="4097029"/>
              <a:ext cx="176042" cy="0"/>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37B38338-8830-D42A-78E5-19D2D9D00DE1}"/>
                </a:ext>
              </a:extLst>
            </p:cNvPr>
            <p:cNvSpPr/>
            <p:nvPr/>
          </p:nvSpPr>
          <p:spPr>
            <a:xfrm>
              <a:off x="1021329" y="4003243"/>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USD)</a:t>
              </a:r>
              <a:endParaRPr lang="en-GB" sz="1400" dirty="0">
                <a:solidFill>
                  <a:schemeClr val="bg1"/>
                </a:solidFill>
                <a:latin typeface="Bierstadt" panose="020B0004020202020204" pitchFamily="34" charset="0"/>
              </a:endParaRPr>
            </a:p>
          </p:txBody>
        </p:sp>
        <p:cxnSp>
          <p:nvCxnSpPr>
            <p:cNvPr id="1074" name="Straight Connector 1073">
              <a:extLst>
                <a:ext uri="{FF2B5EF4-FFF2-40B4-BE49-F238E27FC236}">
                  <a16:creationId xmlns:a16="http://schemas.microsoft.com/office/drawing/2014/main" id="{01FF496C-1B63-9F7A-E785-BD8601DA11B9}"/>
                </a:ext>
              </a:extLst>
            </p:cNvPr>
            <p:cNvCxnSpPr/>
            <p:nvPr/>
          </p:nvCxnSpPr>
          <p:spPr>
            <a:xfrm>
              <a:off x="845287" y="4292957"/>
              <a:ext cx="176042" cy="0"/>
            </a:xfrm>
            <a:prstGeom prst="line">
              <a:avLst/>
            </a:prstGeom>
            <a:ln w="381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71" name="Rectangle 1070">
              <a:extLst>
                <a:ext uri="{FF2B5EF4-FFF2-40B4-BE49-F238E27FC236}">
                  <a16:creationId xmlns:a16="http://schemas.microsoft.com/office/drawing/2014/main" id="{5EF8955E-1811-625A-2E9D-62F78E7966F0}"/>
                </a:ext>
              </a:extLst>
            </p:cNvPr>
            <p:cNvSpPr/>
            <p:nvPr/>
          </p:nvSpPr>
          <p:spPr>
            <a:xfrm>
              <a:off x="1021329" y="4199170"/>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ZMW)</a:t>
              </a:r>
              <a:endParaRPr lang="en-GB" sz="1400" dirty="0">
                <a:solidFill>
                  <a:schemeClr val="bg1"/>
                </a:solidFill>
                <a:latin typeface="Bierstadt" panose="020B0004020202020204" pitchFamily="34" charset="0"/>
              </a:endParaRPr>
            </a:p>
          </p:txBody>
        </p:sp>
        <p:cxnSp>
          <p:nvCxnSpPr>
            <p:cNvPr id="1072" name="Straight Connector 1071">
              <a:extLst>
                <a:ext uri="{FF2B5EF4-FFF2-40B4-BE49-F238E27FC236}">
                  <a16:creationId xmlns:a16="http://schemas.microsoft.com/office/drawing/2014/main" id="{067EAF58-9C59-E403-E8BE-82708F20FD33}"/>
                </a:ext>
              </a:extLst>
            </p:cNvPr>
            <p:cNvCxnSpPr/>
            <p:nvPr/>
          </p:nvCxnSpPr>
          <p:spPr>
            <a:xfrm>
              <a:off x="845287" y="4488883"/>
              <a:ext cx="176042"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069" name="Rectangle 1068">
              <a:extLst>
                <a:ext uri="{FF2B5EF4-FFF2-40B4-BE49-F238E27FC236}">
                  <a16:creationId xmlns:a16="http://schemas.microsoft.com/office/drawing/2014/main" id="{E01969D9-225F-E45F-5920-F199404DF842}"/>
                </a:ext>
              </a:extLst>
            </p:cNvPr>
            <p:cNvSpPr/>
            <p:nvPr/>
          </p:nvSpPr>
          <p:spPr>
            <a:xfrm>
              <a:off x="1021329" y="439509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ZMW)</a:t>
              </a:r>
              <a:endParaRPr lang="en-GB" sz="1400" dirty="0">
                <a:solidFill>
                  <a:schemeClr val="bg1"/>
                </a:solidFill>
                <a:latin typeface="Bierstadt" panose="020B0004020202020204" pitchFamily="34" charset="0"/>
              </a:endParaRPr>
            </a:p>
          </p:txBody>
        </p:sp>
      </p:grpSp>
      <p:grpSp>
        <p:nvGrpSpPr>
          <p:cNvPr id="1113" name="Group 1112">
            <a:extLst>
              <a:ext uri="{FF2B5EF4-FFF2-40B4-BE49-F238E27FC236}">
                <a16:creationId xmlns:a16="http://schemas.microsoft.com/office/drawing/2014/main" id="{C798E148-BFA6-6EF2-9543-ADF6CE2B8F40}"/>
              </a:ext>
            </a:extLst>
          </p:cNvPr>
          <p:cNvGrpSpPr/>
          <p:nvPr/>
        </p:nvGrpSpPr>
        <p:grpSpPr>
          <a:xfrm>
            <a:off x="292608" y="3487233"/>
            <a:ext cx="3082392" cy="232459"/>
            <a:chOff x="292608" y="3408468"/>
            <a:chExt cx="3082392" cy="232459"/>
          </a:xfrm>
        </p:grpSpPr>
        <p:cxnSp>
          <p:nvCxnSpPr>
            <p:cNvPr id="1110" name="Straight Connector 1109">
              <a:extLst>
                <a:ext uri="{FF2B5EF4-FFF2-40B4-BE49-F238E27FC236}">
                  <a16:creationId xmlns:a16="http://schemas.microsoft.com/office/drawing/2014/main" id="{E1E9F400-79E4-F605-CAC3-9C8DFB8A4E78}"/>
                </a:ext>
              </a:extLst>
            </p:cNvPr>
            <p:cNvCxnSpPr/>
            <p:nvPr/>
          </p:nvCxnSpPr>
          <p:spPr>
            <a:xfrm>
              <a:off x="292608" y="3640927"/>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1" name="Rectangle 1110">
              <a:extLst>
                <a:ext uri="{FF2B5EF4-FFF2-40B4-BE49-F238E27FC236}">
                  <a16:creationId xmlns:a16="http://schemas.microsoft.com/office/drawing/2014/main" id="{B72AFCF7-2C29-E7CB-8DB3-EF8C64B30C9D}"/>
                </a:ext>
              </a:extLst>
            </p:cNvPr>
            <p:cNvSpPr/>
            <p:nvPr/>
          </p:nvSpPr>
          <p:spPr>
            <a:xfrm>
              <a:off x="292608" y="3408468"/>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Portfolio performance since inception</a:t>
              </a:r>
              <a:endParaRPr lang="en-GB" sz="1000" b="1" dirty="0">
                <a:solidFill>
                  <a:schemeClr val="bg1"/>
                </a:solidFill>
                <a:latin typeface="Bierstadt" panose="020B0004020202020204" pitchFamily="34" charset="0"/>
              </a:endParaRPr>
            </a:p>
          </p:txBody>
        </p:sp>
      </p:grpSp>
      <p:sp>
        <p:nvSpPr>
          <p:cNvPr id="1116" name="Rectangle 1115">
            <a:extLst>
              <a:ext uri="{FF2B5EF4-FFF2-40B4-BE49-F238E27FC236}">
                <a16:creationId xmlns:a16="http://schemas.microsoft.com/office/drawing/2014/main" id="{B75CABC0-673B-2A1C-4D66-DBFEB420B5E4}"/>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Monthly return in USD %</a:t>
            </a:r>
            <a:endParaRPr lang="en-GB" sz="1000" b="1" dirty="0">
              <a:solidFill>
                <a:schemeClr val="bg1"/>
              </a:solidFill>
              <a:latin typeface="Bierstadt" panose="020B0004020202020204" pitchFamily="34" charset="0"/>
            </a:endParaRPr>
          </a:p>
        </p:txBody>
      </p:sp>
      <p:sp>
        <p:nvSpPr>
          <p:cNvPr id="1043" name="TextBox 1042">
            <a:extLst>
              <a:ext uri="{FF2B5EF4-FFF2-40B4-BE49-F238E27FC236}">
                <a16:creationId xmlns:a16="http://schemas.microsoft.com/office/drawing/2014/main" id="{74D90AD3-A784-38C5-B3F4-6A5A0D8E85D1}"/>
              </a:ext>
            </a:extLst>
          </p:cNvPr>
          <p:cNvSpPr txBox="1"/>
          <p:nvPr/>
        </p:nvSpPr>
        <p:spPr>
          <a:xfrm>
            <a:off x="292608" y="9210085"/>
            <a:ext cx="6272784" cy="415498"/>
          </a:xfrm>
          <a:prstGeom prst="rect">
            <a:avLst/>
          </a:prstGeom>
          <a:noFill/>
        </p:spPr>
        <p:txBody>
          <a:bodyPr wrap="square" rtlCol="0">
            <a:spAutoFit/>
          </a:bodyPr>
          <a:lstStyle/>
          <a:p>
            <a:pPr marL="171450" indent="-171450">
              <a:buFont typeface="Arial" panose="020B0604020202020204" pitchFamily="34" charset="0"/>
              <a:buChar char="•"/>
            </a:pPr>
            <a:r>
              <a:rPr lang="en-ZA" sz="700" dirty="0">
                <a:solidFill>
                  <a:schemeClr val="bg1"/>
                </a:solidFill>
              </a:rPr>
              <a:t>Portfolio and benchmark returns are not for the complete month of September 2021. Starts at 6 September 2021 (inception). Benchmark YTD is since inception.</a:t>
            </a: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171450" indent="-171450">
              <a:buFont typeface="Arial" panose="020B0604020202020204" pitchFamily="34" charset="0"/>
              <a:buChar char="•"/>
            </a:pP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All returns stated have been calculated based on net asset values, including reinvestment of dividends where applicable. Past performance is not a reliable indicator of future performance.</a:t>
            </a:r>
            <a:endParaRPr kumimoji="0" lang="en-ZA" sz="7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aphicFrame>
        <p:nvGraphicFramePr>
          <p:cNvPr id="1044" name="MONTHLY_RETURNS_TABLE">
            <a:extLst>
              <a:ext uri="{FF2B5EF4-FFF2-40B4-BE49-F238E27FC236}">
                <a16:creationId xmlns:a16="http://schemas.microsoft.com/office/drawing/2014/main" id="{1F6E4154-5923-4BB1-E4D7-B973F8027170}"/>
              </a:ext>
            </a:extLst>
          </p:cNvPr>
          <p:cNvGraphicFramePr>
            <a:graphicFrameLocks noGrp="1"/>
          </p:cNvGraphicFramePr>
          <p:nvPr>
            <p:extLst>
              <p:ext uri="{D42A27DB-BD31-4B8C-83A1-F6EECF244321}">
                <p14:modId xmlns:p14="http://schemas.microsoft.com/office/powerpoint/2010/main" val="3208698559"/>
              </p:ext>
            </p:extLst>
          </p:nvPr>
        </p:nvGraphicFramePr>
        <p:xfrm>
          <a:off x="435172" y="7159133"/>
          <a:ext cx="5987656" cy="2008511"/>
        </p:xfrm>
        <a:graphic>
          <a:graphicData uri="http://schemas.openxmlformats.org/drawingml/2006/table">
            <a:tbl>
              <a:tblPr firstRow="1" bandRow="1">
                <a:tableStyleId>{00A15C55-8517-42AA-B614-E9B94910E393}</a:tableStyleId>
              </a:tblPr>
              <a:tblGrid>
                <a:gridCol w="948120">
                  <a:extLst>
                    <a:ext uri="{9D8B030D-6E8A-4147-A177-3AD203B41FA5}">
                      <a16:colId xmlns:a16="http://schemas.microsoft.com/office/drawing/2014/main" val="896788362"/>
                    </a:ext>
                  </a:extLst>
                </a:gridCol>
                <a:gridCol w="420970">
                  <a:extLst>
                    <a:ext uri="{9D8B030D-6E8A-4147-A177-3AD203B41FA5}">
                      <a16:colId xmlns:a16="http://schemas.microsoft.com/office/drawing/2014/main" val="3261703524"/>
                    </a:ext>
                  </a:extLst>
                </a:gridCol>
                <a:gridCol w="382056">
                  <a:extLst>
                    <a:ext uri="{9D8B030D-6E8A-4147-A177-3AD203B41FA5}">
                      <a16:colId xmlns:a16="http://schemas.microsoft.com/office/drawing/2014/main" val="2988750767"/>
                    </a:ext>
                  </a:extLst>
                </a:gridCol>
                <a:gridCol w="404482">
                  <a:extLst>
                    <a:ext uri="{9D8B030D-6E8A-4147-A177-3AD203B41FA5}">
                      <a16:colId xmlns:a16="http://schemas.microsoft.com/office/drawing/2014/main" val="3491355810"/>
                    </a:ext>
                  </a:extLst>
                </a:gridCol>
                <a:gridCol w="361950">
                  <a:extLst>
                    <a:ext uri="{9D8B030D-6E8A-4147-A177-3AD203B41FA5}">
                      <a16:colId xmlns:a16="http://schemas.microsoft.com/office/drawing/2014/main" val="1887057036"/>
                    </a:ext>
                  </a:extLst>
                </a:gridCol>
                <a:gridCol w="352425">
                  <a:extLst>
                    <a:ext uri="{9D8B030D-6E8A-4147-A177-3AD203B41FA5}">
                      <a16:colId xmlns:a16="http://schemas.microsoft.com/office/drawing/2014/main" val="2724548086"/>
                    </a:ext>
                  </a:extLst>
                </a:gridCol>
                <a:gridCol w="412028">
                  <a:extLst>
                    <a:ext uri="{9D8B030D-6E8A-4147-A177-3AD203B41FA5}">
                      <a16:colId xmlns:a16="http://schemas.microsoft.com/office/drawing/2014/main" val="3163421287"/>
                    </a:ext>
                  </a:extLst>
                </a:gridCol>
                <a:gridCol w="364368">
                  <a:extLst>
                    <a:ext uri="{9D8B030D-6E8A-4147-A177-3AD203B41FA5}">
                      <a16:colId xmlns:a16="http://schemas.microsoft.com/office/drawing/2014/main" val="2398919590"/>
                    </a:ext>
                  </a:extLst>
                </a:gridCol>
                <a:gridCol w="382056">
                  <a:extLst>
                    <a:ext uri="{9D8B030D-6E8A-4147-A177-3AD203B41FA5}">
                      <a16:colId xmlns:a16="http://schemas.microsoft.com/office/drawing/2014/main" val="1052940757"/>
                    </a:ext>
                  </a:extLst>
                </a:gridCol>
                <a:gridCol w="340349">
                  <a:extLst>
                    <a:ext uri="{9D8B030D-6E8A-4147-A177-3AD203B41FA5}">
                      <a16:colId xmlns:a16="http://schemas.microsoft.com/office/drawing/2014/main" val="623188744"/>
                    </a:ext>
                  </a:extLst>
                </a:gridCol>
                <a:gridCol w="349518">
                  <a:extLst>
                    <a:ext uri="{9D8B030D-6E8A-4147-A177-3AD203B41FA5}">
                      <a16:colId xmlns:a16="http://schemas.microsoft.com/office/drawing/2014/main" val="2515961813"/>
                    </a:ext>
                  </a:extLst>
                </a:gridCol>
                <a:gridCol w="420970">
                  <a:extLst>
                    <a:ext uri="{9D8B030D-6E8A-4147-A177-3AD203B41FA5}">
                      <a16:colId xmlns:a16="http://schemas.microsoft.com/office/drawing/2014/main" val="1987366053"/>
                    </a:ext>
                  </a:extLst>
                </a:gridCol>
                <a:gridCol w="351421">
                  <a:extLst>
                    <a:ext uri="{9D8B030D-6E8A-4147-A177-3AD203B41FA5}">
                      <a16:colId xmlns:a16="http://schemas.microsoft.com/office/drawing/2014/main" val="3039303453"/>
                    </a:ext>
                  </a:extLst>
                </a:gridCol>
                <a:gridCol w="496943">
                  <a:extLst>
                    <a:ext uri="{9D8B030D-6E8A-4147-A177-3AD203B41FA5}">
                      <a16:colId xmlns:a16="http://schemas.microsoft.com/office/drawing/2014/main" val="867294964"/>
                    </a:ext>
                  </a:extLst>
                </a:gridCol>
              </a:tblGrid>
              <a:tr h="195558">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Ye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Jan</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Feb</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dirty="0">
                          <a:solidFill>
                            <a:schemeClr val="bg1"/>
                          </a:solidFill>
                          <a:latin typeface="Bierstadt" panose="020B0004020202020204" pitchFamily="34" charset="0"/>
                          <a:ea typeface="Yu Gothic Light" panose="020B0300000000000000" pitchFamily="34" charset="-128"/>
                          <a:cs typeface="Helvetica" panose="020B0604020202020204"/>
                        </a:rPr>
                        <a:t>M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Apr</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May</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Jun</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Jul</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Aug</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Sep</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Oct</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Nov</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Dec</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FY/YTD</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541953838"/>
                  </a:ext>
                </a:extLst>
              </a:tr>
              <a:tr h="182520">
                <a:tc>
                  <a:txBody>
                    <a:bodyPr/>
                    <a:lstStyle/>
                    <a:p>
                      <a:pPr algn="ctr"/>
                      <a:r>
                        <a:rPr lang="en-US" sz="600" b="0">
                          <a:solidFill>
                            <a:schemeClr val="bg1"/>
                          </a:solidFill>
                          <a:latin typeface="Bierstadt" panose="020B0004020202020204" pitchFamily="34" charset="0"/>
                          <a:ea typeface="Yu Gothic Light" panose="020B0300000000000000" pitchFamily="34" charset="-128"/>
                          <a:cs typeface="Helvetica" panose="020B0604020202020204"/>
                        </a:rPr>
                        <a:t>2021</a:t>
                      </a:r>
                      <a:endParaRPr lang="en-ZA" sz="600" b="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0.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5.33%</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967875"/>
                  </a:ext>
                </a:extLst>
              </a:tr>
              <a:tr h="182520">
                <a:tc>
                  <a:txBody>
                    <a:bodyPr/>
                    <a:lstStyle/>
                    <a:p>
                      <a:pPr algn="ctr"/>
                      <a:r>
                        <a:rPr lang="en-US" sz="600" b="0" dirty="0">
                          <a:solidFill>
                            <a:schemeClr val="bg1"/>
                          </a:solidFill>
                          <a:latin typeface="Bierstadt" panose="020B0004020202020204" pitchFamily="34" charset="0"/>
                          <a:ea typeface="Yu Gothic Light" panose="020B0300000000000000" pitchFamily="34" charset="-128"/>
                          <a:cs typeface="Helvetica" panose="020B0604020202020204"/>
                        </a:rPr>
                        <a:t>Benchmark</a:t>
                      </a:r>
                      <a:endParaRPr lang="en-ZA" sz="600" b="0" dirty="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5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48378"/>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2</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9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9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2.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2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631251"/>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1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3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3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39%</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746856"/>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3</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1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1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90%</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5735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22.27%</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1266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9.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8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2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8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7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33.1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810567"/>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0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45%</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003448"/>
                  </a:ext>
                </a:extLst>
              </a:tr>
              <a:tr h="169483">
                <a:tc>
                  <a:txBody>
                    <a:bodyPr/>
                    <a:lstStyle/>
                    <a:p>
                      <a:pPr algn="ctr"/>
                      <a:r>
                        <a:rPr lang="en-ZA" sz="600" b="0" dirty="0">
                          <a:solidFill>
                            <a:schemeClr val="bg1"/>
                          </a:solidFill>
                          <a:latin typeface="Bierstadt" panose="020B0004020202020204" pitchFamily="34" charset="0"/>
                          <a:ea typeface="Yu Gothic Light" panose="020B0300000000000000" pitchFamily="34" charset="-128"/>
                          <a:cs typeface="Helvetica" panose="020B0604020202020204"/>
                        </a:rPr>
                        <a:t>2025</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8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9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1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3.8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6.65%</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72681915"/>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1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3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6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0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2.6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3.6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5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943505122"/>
                  </a:ext>
                </a:extLst>
              </a:tr>
            </a:tbl>
          </a:graphicData>
        </a:graphic>
      </p:graphicFrame>
      <p:cxnSp>
        <p:nvCxnSpPr>
          <p:cNvPr id="1115" name="Straight Connector 1114">
            <a:extLst>
              <a:ext uri="{FF2B5EF4-FFF2-40B4-BE49-F238E27FC236}">
                <a16:creationId xmlns:a16="http://schemas.microsoft.com/office/drawing/2014/main" id="{115A132D-87C4-229E-D72B-7612E9001D6C}"/>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117" name="Group 1116">
            <a:extLst>
              <a:ext uri="{FF2B5EF4-FFF2-40B4-BE49-F238E27FC236}">
                <a16:creationId xmlns:a16="http://schemas.microsoft.com/office/drawing/2014/main" id="{1044B7A8-B9D0-329C-C0BD-AF0C9E0CC069}"/>
              </a:ext>
            </a:extLst>
          </p:cNvPr>
          <p:cNvGrpSpPr/>
          <p:nvPr/>
        </p:nvGrpSpPr>
        <p:grpSpPr>
          <a:xfrm>
            <a:off x="3483000" y="1024666"/>
            <a:ext cx="3082392" cy="232459"/>
            <a:chOff x="292608" y="1013780"/>
            <a:chExt cx="3082392" cy="232459"/>
          </a:xfrm>
        </p:grpSpPr>
        <p:cxnSp>
          <p:nvCxnSpPr>
            <p:cNvPr id="1118" name="Straight Connector 1117">
              <a:extLst>
                <a:ext uri="{FF2B5EF4-FFF2-40B4-BE49-F238E27FC236}">
                  <a16:creationId xmlns:a16="http://schemas.microsoft.com/office/drawing/2014/main" id="{7FFFBDED-BF3F-749A-FE21-9CADD728275E}"/>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9F902DF6-F73C-67CF-1296-059991C712C5}"/>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information</a:t>
              </a:r>
              <a:endParaRPr lang="en-GB" sz="1000" b="1" dirty="0">
                <a:solidFill>
                  <a:schemeClr val="bg1"/>
                </a:solidFill>
                <a:latin typeface="Bierstadt"/>
              </a:endParaRPr>
            </a:p>
          </p:txBody>
        </p:sp>
      </p:grpSp>
      <p:sp>
        <p:nvSpPr>
          <p:cNvPr id="1120" name="TextBox 1119">
            <a:extLst>
              <a:ext uri="{FF2B5EF4-FFF2-40B4-BE49-F238E27FC236}">
                <a16:creationId xmlns:a16="http://schemas.microsoft.com/office/drawing/2014/main" id="{BD05C90F-3044-8DC2-CC91-3E39100F309F}"/>
              </a:ext>
            </a:extLst>
          </p:cNvPr>
          <p:cNvSpPr txBox="1"/>
          <p:nvPr/>
        </p:nvSpPr>
        <p:spPr>
          <a:xfrm>
            <a:off x="3527229" y="1480484"/>
            <a:ext cx="154269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Risk profi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bg1"/>
              </a:solidFill>
              <a:effectLst/>
              <a:uLnTx/>
              <a:uFillTx/>
              <a:latin typeface="Bierstadt" panose="020B0004020202020204" pitchFamily="34" charset="0"/>
            </a:endParaRPr>
          </a:p>
        </p:txBody>
      </p:sp>
      <p:graphicFrame>
        <p:nvGraphicFramePr>
          <p:cNvPr id="1121" name="Table 16">
            <a:extLst>
              <a:ext uri="{FF2B5EF4-FFF2-40B4-BE49-F238E27FC236}">
                <a16:creationId xmlns:a16="http://schemas.microsoft.com/office/drawing/2014/main" id="{A72A4B91-670B-1D9D-AB8F-5B6D9C904020}"/>
              </a:ext>
            </a:extLst>
          </p:cNvPr>
          <p:cNvGraphicFramePr>
            <a:graphicFrameLocks noGrp="1"/>
          </p:cNvGraphicFramePr>
          <p:nvPr>
            <p:extLst>
              <p:ext uri="{D42A27DB-BD31-4B8C-83A1-F6EECF244321}">
                <p14:modId xmlns:p14="http://schemas.microsoft.com/office/powerpoint/2010/main" val="162677619"/>
              </p:ext>
            </p:extLst>
          </p:nvPr>
        </p:nvGraphicFramePr>
        <p:xfrm>
          <a:off x="4449425" y="1496815"/>
          <a:ext cx="1828800" cy="243840"/>
        </p:xfrm>
        <a:graphic>
          <a:graphicData uri="http://schemas.openxmlformats.org/drawingml/2006/table">
            <a:tbl>
              <a:tblPr firstRow="1" bandRow="1">
                <a:tableStyleId>{912C8C85-51F0-491E-9774-3900AFEF0FD7}</a:tableStyleId>
              </a:tblPr>
              <a:tblGrid>
                <a:gridCol w="365760">
                  <a:extLst>
                    <a:ext uri="{9D8B030D-6E8A-4147-A177-3AD203B41FA5}">
                      <a16:colId xmlns:a16="http://schemas.microsoft.com/office/drawing/2014/main" val="3324011243"/>
                    </a:ext>
                  </a:extLst>
                </a:gridCol>
                <a:gridCol w="365760">
                  <a:extLst>
                    <a:ext uri="{9D8B030D-6E8A-4147-A177-3AD203B41FA5}">
                      <a16:colId xmlns:a16="http://schemas.microsoft.com/office/drawing/2014/main" val="3190197823"/>
                    </a:ext>
                  </a:extLst>
                </a:gridCol>
                <a:gridCol w="365760">
                  <a:extLst>
                    <a:ext uri="{9D8B030D-6E8A-4147-A177-3AD203B41FA5}">
                      <a16:colId xmlns:a16="http://schemas.microsoft.com/office/drawing/2014/main" val="325901991"/>
                    </a:ext>
                  </a:extLst>
                </a:gridCol>
                <a:gridCol w="365760">
                  <a:extLst>
                    <a:ext uri="{9D8B030D-6E8A-4147-A177-3AD203B41FA5}">
                      <a16:colId xmlns:a16="http://schemas.microsoft.com/office/drawing/2014/main" val="398635762"/>
                    </a:ext>
                  </a:extLst>
                </a:gridCol>
                <a:gridCol w="365760">
                  <a:extLst>
                    <a:ext uri="{9D8B030D-6E8A-4147-A177-3AD203B41FA5}">
                      <a16:colId xmlns:a16="http://schemas.microsoft.com/office/drawing/2014/main" val="2426451187"/>
                    </a:ext>
                  </a:extLst>
                </a:gridCol>
              </a:tblGrid>
              <a:tr h="182880">
                <a:tc>
                  <a:txBody>
                    <a:bodyPr/>
                    <a:lstStyle/>
                    <a:p>
                      <a:pPr algn="ctr"/>
                      <a:r>
                        <a:rPr lang="en-US" sz="1000" b="0">
                          <a:solidFill>
                            <a:schemeClr val="bg1"/>
                          </a:solidFill>
                          <a:latin typeface="Helvetica" panose="020B0604020202020204" pitchFamily="34" charset="0"/>
                          <a:cs typeface="Helvetica" panose="020B0604020202020204" pitchFamily="34" charset="0"/>
                        </a:rPr>
                        <a:t>1</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a:solidFill>
                            <a:schemeClr val="bg1"/>
                          </a:solidFill>
                          <a:latin typeface="Helvetica" panose="020B0604020202020204" pitchFamily="34" charset="0"/>
                          <a:cs typeface="Helvetica" panose="020B0604020202020204" pitchFamily="34" charset="0"/>
                        </a:rPr>
                        <a:t>2</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3</a:t>
                      </a:r>
                      <a:endParaRPr lang="en-ZA" sz="1000" b="0" dirty="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1" dirty="0">
                          <a:solidFill>
                            <a:schemeClr val="bg1"/>
                          </a:solidFill>
                          <a:latin typeface="Helvetica" panose="020B0604020202020204" pitchFamily="34" charset="0"/>
                          <a:cs typeface="Helvetica" panose="020B0604020202020204" pitchFamily="34" charset="0"/>
                        </a:rPr>
                        <a:t>4</a:t>
                      </a:r>
                      <a:endParaRPr lang="en-ZA" sz="1000" b="1" dirty="0">
                        <a:solidFill>
                          <a:schemeClr val="bg1"/>
                        </a:solidFill>
                        <a:latin typeface="Helvetica" panose="020B0604020202020204" pitchFamily="34" charset="0"/>
                        <a:cs typeface="Helvetica" panose="020B0604020202020204" pitchFamily="34" charset="0"/>
                      </a:endParaRPr>
                    </a:p>
                  </a:txBody>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5</a:t>
                      </a:r>
                      <a:endParaRPr lang="en-ZA" sz="1000" b="0" dirty="0">
                        <a:solidFill>
                          <a:schemeClr val="bg1"/>
                        </a:solidFill>
                        <a:latin typeface="Helvetica" panose="020B0604020202020204" pitchFamily="34" charset="0"/>
                        <a:cs typeface="Helvetica" panose="020B0604020202020204" pitchFamily="34" charset="0"/>
                      </a:endParaRPr>
                    </a:p>
                  </a:txBody>
                  <a:tcPr>
                    <a:noFill/>
                  </a:tcPr>
                </a:tc>
                <a:extLst>
                  <a:ext uri="{0D108BD9-81ED-4DB2-BD59-A6C34878D82A}">
                    <a16:rowId xmlns:a16="http://schemas.microsoft.com/office/drawing/2014/main" val="2590197038"/>
                  </a:ext>
                </a:extLst>
              </a:tr>
            </a:tbl>
          </a:graphicData>
        </a:graphic>
      </p:graphicFrame>
      <p:sp>
        <p:nvSpPr>
          <p:cNvPr id="1128" name="TextBox 1127">
            <a:extLst>
              <a:ext uri="{FF2B5EF4-FFF2-40B4-BE49-F238E27FC236}">
                <a16:creationId xmlns:a16="http://schemas.microsoft.com/office/drawing/2014/main" id="{8CF1E5B6-87B7-F8D8-4569-2578C19CE7E7}"/>
              </a:ext>
            </a:extLst>
          </p:cNvPr>
          <p:cNvSpPr txBox="1"/>
          <p:nvPr/>
        </p:nvSpPr>
        <p:spPr>
          <a:xfrm>
            <a:off x="4377986" y="1273196"/>
            <a:ext cx="62719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Low</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9" name="TextBox 1128">
            <a:extLst>
              <a:ext uri="{FF2B5EF4-FFF2-40B4-BE49-F238E27FC236}">
                <a16:creationId xmlns:a16="http://schemas.microsoft.com/office/drawing/2014/main" id="{23652EF1-9108-5747-87F3-18A8404E720C}"/>
              </a:ext>
            </a:extLst>
          </p:cNvPr>
          <p:cNvSpPr txBox="1"/>
          <p:nvPr/>
        </p:nvSpPr>
        <p:spPr>
          <a:xfrm>
            <a:off x="5876128" y="1263104"/>
            <a:ext cx="65878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High</a:t>
            </a:r>
            <a:endParaRPr kumimoji="0" lang="en-ZA"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0" name="TextBox 1129">
            <a:extLst>
              <a:ext uri="{FF2B5EF4-FFF2-40B4-BE49-F238E27FC236}">
                <a16:creationId xmlns:a16="http://schemas.microsoft.com/office/drawing/2014/main" id="{41808883-77AC-2219-F048-85CA6077486F}"/>
              </a:ext>
            </a:extLst>
          </p:cNvPr>
          <p:cNvSpPr txBox="1"/>
          <p:nvPr/>
        </p:nvSpPr>
        <p:spPr>
          <a:xfrm>
            <a:off x="5005182" y="1274531"/>
            <a:ext cx="91440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Moderate</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1134" name="Group 1133">
            <a:extLst>
              <a:ext uri="{FF2B5EF4-FFF2-40B4-BE49-F238E27FC236}">
                <a16:creationId xmlns:a16="http://schemas.microsoft.com/office/drawing/2014/main" id="{F6E6E961-5D71-26C8-E226-D3661BE6E15B}"/>
              </a:ext>
            </a:extLst>
          </p:cNvPr>
          <p:cNvGrpSpPr/>
          <p:nvPr/>
        </p:nvGrpSpPr>
        <p:grpSpPr>
          <a:xfrm>
            <a:off x="3531992" y="1793130"/>
            <a:ext cx="2984409" cy="1339191"/>
            <a:chOff x="3529619" y="2021004"/>
            <a:chExt cx="2984409" cy="1339191"/>
          </a:xfrm>
        </p:grpSpPr>
        <p:sp>
          <p:nvSpPr>
            <p:cNvPr id="1122" name="TextBox 1121">
              <a:extLst>
                <a:ext uri="{FF2B5EF4-FFF2-40B4-BE49-F238E27FC236}">
                  <a16:creationId xmlns:a16="http://schemas.microsoft.com/office/drawing/2014/main" id="{8585F231-2C62-B0AE-B7B3-1BAB42484B03}"/>
                </a:ext>
              </a:extLst>
            </p:cNvPr>
            <p:cNvSpPr txBox="1"/>
            <p:nvPr/>
          </p:nvSpPr>
          <p:spPr>
            <a:xfrm>
              <a:off x="3531303" y="2322683"/>
              <a:ext cx="106892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463550" algn="l"/>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Inception da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Benchmark</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3" name="TextBox 1122">
              <a:extLst>
                <a:ext uri="{FF2B5EF4-FFF2-40B4-BE49-F238E27FC236}">
                  <a16:creationId xmlns:a16="http://schemas.microsoft.com/office/drawing/2014/main" id="{93390F13-D166-4162-3F1E-05D458B33940}"/>
                </a:ext>
              </a:extLst>
            </p:cNvPr>
            <p:cNvSpPr txBox="1"/>
            <p:nvPr/>
          </p:nvSpPr>
          <p:spPr>
            <a:xfrm>
              <a:off x="5018209" y="2336574"/>
              <a:ext cx="106892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Bierstadt" panose="020B0004020202020204" pitchFamily="34" charset="0"/>
                  <a:cs typeface="Helvetica" panose="020B0604020202020204" pitchFamily="34" charset="0"/>
                </a:rPr>
                <a:t>6</a:t>
              </a: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 Sep 2021</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endParaRPr>
            </a:p>
          </p:txBody>
        </p:sp>
        <p:sp>
          <p:nvSpPr>
            <p:cNvPr id="1124" name="BENCH_NAME">
              <a:extLst>
                <a:ext uri="{FF2B5EF4-FFF2-40B4-BE49-F238E27FC236}">
                  <a16:creationId xmlns:a16="http://schemas.microsoft.com/office/drawing/2014/main" id="{EE16854C-077E-8B7B-0CA5-E7BAA77A83E3}"/>
                </a:ext>
              </a:extLst>
            </p:cNvPr>
            <p:cNvSpPr txBox="1"/>
            <p:nvPr/>
          </p:nvSpPr>
          <p:spPr>
            <a:xfrm>
              <a:off x="5035140" y="2610906"/>
              <a:ext cx="87682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ACWI</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endParaRPr>
            </a:p>
          </p:txBody>
        </p:sp>
        <p:sp>
          <p:nvSpPr>
            <p:cNvPr id="1125" name="TextBox 1124">
              <a:extLst>
                <a:ext uri="{FF2B5EF4-FFF2-40B4-BE49-F238E27FC236}">
                  <a16:creationId xmlns:a16="http://schemas.microsoft.com/office/drawing/2014/main" id="{56C16C64-D8C9-F3AD-38F2-00DFE3100BB3}"/>
                </a:ext>
              </a:extLst>
            </p:cNvPr>
            <p:cNvSpPr txBox="1"/>
            <p:nvPr/>
          </p:nvSpPr>
          <p:spPr>
            <a:xfrm>
              <a:off x="3533519" y="2845990"/>
              <a:ext cx="136159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Portfolio denomination</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6" name="TextBox 1125">
              <a:extLst>
                <a:ext uri="{FF2B5EF4-FFF2-40B4-BE49-F238E27FC236}">
                  <a16:creationId xmlns:a16="http://schemas.microsoft.com/office/drawing/2014/main" id="{70F2B244-9C00-F88B-7655-C7F1E159FA21}"/>
                </a:ext>
              </a:extLst>
            </p:cNvPr>
            <p:cNvSpPr txBox="1"/>
            <p:nvPr/>
          </p:nvSpPr>
          <p:spPr>
            <a:xfrm>
              <a:off x="5218146" y="2859128"/>
              <a:ext cx="47323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USD </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7" name="TextBox 1126">
              <a:extLst>
                <a:ext uri="{FF2B5EF4-FFF2-40B4-BE49-F238E27FC236}">
                  <a16:creationId xmlns:a16="http://schemas.microsoft.com/office/drawing/2014/main" id="{196B4DFA-4EC6-D389-607B-00BFE9D71E6C}"/>
                </a:ext>
              </a:extLst>
            </p:cNvPr>
            <p:cNvSpPr txBox="1"/>
            <p:nvPr/>
          </p:nvSpPr>
          <p:spPr>
            <a:xfrm>
              <a:off x="3529619" y="2027063"/>
              <a:ext cx="120696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Portfolio structure</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1" name="TextBox 1130">
              <a:extLst>
                <a:ext uri="{FF2B5EF4-FFF2-40B4-BE49-F238E27FC236}">
                  <a16:creationId xmlns:a16="http://schemas.microsoft.com/office/drawing/2014/main" id="{3111AED9-6429-2608-940E-46E70B879D65}"/>
                </a:ext>
              </a:extLst>
            </p:cNvPr>
            <p:cNvSpPr txBox="1"/>
            <p:nvPr/>
          </p:nvSpPr>
          <p:spPr>
            <a:xfrm>
              <a:off x="4643301" y="2021004"/>
              <a:ext cx="18707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Discretionary/Direct ownership</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2" name="TextBox 1131">
              <a:extLst>
                <a:ext uri="{FF2B5EF4-FFF2-40B4-BE49-F238E27FC236}">
                  <a16:creationId xmlns:a16="http://schemas.microsoft.com/office/drawing/2014/main" id="{04BBF164-6973-A07B-B1B2-CED2F4CC5011}"/>
                </a:ext>
              </a:extLst>
            </p:cNvPr>
            <p:cNvSpPr txBox="1"/>
            <p:nvPr/>
          </p:nvSpPr>
          <p:spPr>
            <a:xfrm>
              <a:off x="3533656" y="3129363"/>
              <a:ext cx="1162314" cy="230832"/>
            </a:xfrm>
            <a:prstGeom prst="rect">
              <a:avLst/>
            </a:prstGeom>
            <a:noFill/>
          </p:spPr>
          <p:txBody>
            <a:bodyPr wrap="square" rtlCol="0">
              <a:spAutoFit/>
            </a:bodyPr>
            <a:lstStyle/>
            <a:p>
              <a:r>
                <a:rPr lang="en-US" sz="900">
                  <a:solidFill>
                    <a:schemeClr val="bg1"/>
                  </a:solidFill>
                  <a:latin typeface="Bierstadt" panose="020B0004020202020204" pitchFamily="34" charset="0"/>
                  <a:cs typeface="Helvetica" panose="020B0604020202020204" pitchFamily="34" charset="0"/>
                </a:rPr>
                <a:t>Management fee</a:t>
              </a:r>
              <a:endParaRPr lang="en-ZA" sz="900">
                <a:solidFill>
                  <a:schemeClr val="bg1"/>
                </a:solidFill>
                <a:latin typeface="Bierstadt" panose="020B0004020202020204" pitchFamily="34" charset="0"/>
                <a:cs typeface="Helvetica" panose="020B0604020202020204" pitchFamily="34" charset="0"/>
              </a:endParaRPr>
            </a:p>
          </p:txBody>
        </p:sp>
        <p:sp>
          <p:nvSpPr>
            <p:cNvPr id="1133" name="TextBox 1132">
              <a:extLst>
                <a:ext uri="{FF2B5EF4-FFF2-40B4-BE49-F238E27FC236}">
                  <a16:creationId xmlns:a16="http://schemas.microsoft.com/office/drawing/2014/main" id="{A74CE2D0-34DD-CD08-9788-548F5D2157C0}"/>
                </a:ext>
              </a:extLst>
            </p:cNvPr>
            <p:cNvSpPr txBox="1"/>
            <p:nvPr/>
          </p:nvSpPr>
          <p:spPr>
            <a:xfrm>
              <a:off x="4877544" y="3123995"/>
              <a:ext cx="1318471" cy="230832"/>
            </a:xfrm>
            <a:prstGeom prst="rect">
              <a:avLst/>
            </a:prstGeom>
            <a:noFill/>
          </p:spPr>
          <p:txBody>
            <a:bodyPr wrap="square" lIns="91440" tIns="45720" rIns="91440" bIns="45720" rtlCol="0" anchor="t">
              <a:spAutoFit/>
            </a:bodyPr>
            <a:lstStyle/>
            <a:p>
              <a:r>
                <a:rPr lang="en-ZA" sz="900" dirty="0">
                  <a:solidFill>
                    <a:schemeClr val="bg1"/>
                  </a:solidFill>
                  <a:latin typeface="Bierstadt" panose="020B0004020202020204" pitchFamily="34" charset="0"/>
                  <a:cs typeface="Helvetica"/>
                </a:rPr>
                <a:t>1% p.a. incl. VAT</a:t>
              </a:r>
            </a:p>
          </p:txBody>
        </p:sp>
      </p:grpSp>
      <p:grpSp>
        <p:nvGrpSpPr>
          <p:cNvPr id="3" name="Group 2">
            <a:extLst>
              <a:ext uri="{FF2B5EF4-FFF2-40B4-BE49-F238E27FC236}">
                <a16:creationId xmlns:a16="http://schemas.microsoft.com/office/drawing/2014/main" id="{D614AE55-CE52-F6FE-3408-DD2429B55CC5}"/>
              </a:ext>
            </a:extLst>
          </p:cNvPr>
          <p:cNvGrpSpPr/>
          <p:nvPr/>
        </p:nvGrpSpPr>
        <p:grpSpPr>
          <a:xfrm>
            <a:off x="3483000" y="5109925"/>
            <a:ext cx="3082392" cy="232459"/>
            <a:chOff x="3483000" y="5134309"/>
            <a:chExt cx="3082392" cy="232459"/>
          </a:xfrm>
        </p:grpSpPr>
        <p:cxnSp>
          <p:nvCxnSpPr>
            <p:cNvPr id="1136" name="Straight Connector 1135">
              <a:extLst>
                <a:ext uri="{FF2B5EF4-FFF2-40B4-BE49-F238E27FC236}">
                  <a16:creationId xmlns:a16="http://schemas.microsoft.com/office/drawing/2014/main" id="{A9061FFE-B890-DF0E-40BB-8D02D5A96E57}"/>
                </a:ext>
              </a:extLst>
            </p:cNvPr>
            <p:cNvCxnSpPr/>
            <p:nvPr/>
          </p:nvCxnSpPr>
          <p:spPr>
            <a:xfrm>
              <a:off x="3483000" y="5366768"/>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37" name="Rectangle 1136">
              <a:extLst>
                <a:ext uri="{FF2B5EF4-FFF2-40B4-BE49-F238E27FC236}">
                  <a16:creationId xmlns:a16="http://schemas.microsoft.com/office/drawing/2014/main" id="{1741FC84-33AD-5D98-8545-516330A7EF3C}"/>
                </a:ext>
              </a:extLst>
            </p:cNvPr>
            <p:cNvSpPr/>
            <p:nvPr/>
          </p:nvSpPr>
          <p:spPr>
            <a:xfrm>
              <a:off x="3483000" y="5134309"/>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volatility</a:t>
              </a:r>
              <a:endParaRPr lang="en-GB" sz="1000" b="1" dirty="0">
                <a:solidFill>
                  <a:schemeClr val="bg1"/>
                </a:solidFill>
                <a:latin typeface="Bierstadt"/>
              </a:endParaRPr>
            </a:p>
          </p:txBody>
        </p:sp>
      </p:grpSp>
      <p:graphicFrame>
        <p:nvGraphicFramePr>
          <p:cNvPr id="1148" name="TOP_HOLDINGS_TABLE">
            <a:extLst>
              <a:ext uri="{FF2B5EF4-FFF2-40B4-BE49-F238E27FC236}">
                <a16:creationId xmlns:a16="http://schemas.microsoft.com/office/drawing/2014/main" id="{5892CF8A-F628-EC82-4DEE-32CF5B7A9034}"/>
              </a:ext>
            </a:extLst>
          </p:cNvPr>
          <p:cNvGraphicFramePr>
            <a:graphicFrameLocks noGrp="1"/>
          </p:cNvGraphicFramePr>
          <p:nvPr>
            <p:extLst>
              <p:ext uri="{D42A27DB-BD31-4B8C-83A1-F6EECF244321}">
                <p14:modId xmlns:p14="http://schemas.microsoft.com/office/powerpoint/2010/main" val="4261827884"/>
              </p:ext>
            </p:extLst>
          </p:nvPr>
        </p:nvGraphicFramePr>
        <p:xfrm>
          <a:off x="3561468" y="3482530"/>
          <a:ext cx="2925456" cy="1596144"/>
        </p:xfrm>
        <a:graphic>
          <a:graphicData uri="http://schemas.openxmlformats.org/drawingml/2006/table">
            <a:tbl>
              <a:tblPr firstRow="1" bandRow="1">
                <a:tableStyleId>{C083E6E3-FA7D-4D7B-A595-EF9225AFEA82}</a:tableStyleId>
              </a:tblPr>
              <a:tblGrid>
                <a:gridCol w="2218768">
                  <a:extLst>
                    <a:ext uri="{9D8B030D-6E8A-4147-A177-3AD203B41FA5}">
                      <a16:colId xmlns:a16="http://schemas.microsoft.com/office/drawing/2014/main" val="878762420"/>
                    </a:ext>
                  </a:extLst>
                </a:gridCol>
                <a:gridCol w="706688">
                  <a:extLst>
                    <a:ext uri="{9D8B030D-6E8A-4147-A177-3AD203B41FA5}">
                      <a16:colId xmlns:a16="http://schemas.microsoft.com/office/drawing/2014/main" val="646333369"/>
                    </a:ext>
                  </a:extLst>
                </a:gridCol>
              </a:tblGrid>
              <a:tr h="266024">
                <a:tc>
                  <a:txBody>
                    <a:bodyPr/>
                    <a:lstStyle/>
                    <a:p>
                      <a:r>
                        <a:rPr lang="en-GB" sz="900" dirty="0">
                          <a:solidFill>
                            <a:schemeClr val="bg1"/>
                          </a:solidFill>
                          <a:latin typeface="Bierstadt" panose="020B0004020202020204" pitchFamily="34" charset="0"/>
                        </a:rPr>
                        <a:t>Name</a:t>
                      </a:r>
                    </a:p>
                  </a:txBody>
                  <a:tcPr marL="36000" marR="36000"/>
                </a:tc>
                <a:tc>
                  <a:txBody>
                    <a:bodyPr/>
                    <a:lstStyle/>
                    <a:p>
                      <a:pPr algn="ctr"/>
                      <a:r>
                        <a:rPr lang="en-GB" sz="900" dirty="0">
                          <a:solidFill>
                            <a:schemeClr val="bg1"/>
                          </a:solidFill>
                          <a:latin typeface="Bierstadt" panose="020B0004020202020204" pitchFamily="34" charset="0"/>
                        </a:rPr>
                        <a:t>% of NAV</a:t>
                      </a:r>
                    </a:p>
                  </a:txBody>
                  <a:tcPr/>
                </a:tc>
                <a:extLst>
                  <a:ext uri="{0D108BD9-81ED-4DB2-BD59-A6C34878D82A}">
                    <a16:rowId xmlns:a16="http://schemas.microsoft.com/office/drawing/2014/main" val="2235101578"/>
                  </a:ext>
                </a:extLst>
              </a:tr>
              <a:tr h="266024">
                <a:tc>
                  <a:txBody>
                    <a:bodyPr/>
                    <a:lstStyle/>
                    <a:p>
                      <a:r>
                        <a:rPr lang="en-GB" sz="900" dirty="0">
                          <a:solidFill>
                            <a:schemeClr val="bg1"/>
                          </a:solidFill>
                          <a:latin typeface="Bierstadt" panose="020B0004020202020204" pitchFamily="34" charset="0"/>
                        </a:rPr>
                        <a:t>TSMC - ADR</a:t>
                      </a:r>
                    </a:p>
                  </a:txBody>
                  <a:tcPr marL="36000" marR="36000" anchor="ctr"/>
                </a:tc>
                <a:tc>
                  <a:txBody>
                    <a:bodyPr/>
                    <a:lstStyle/>
                    <a:p>
                      <a:pPr algn="ctr"/>
                      <a:r>
                        <a:rPr lang="en-GB" sz="900" dirty="0">
                          <a:solidFill>
                            <a:schemeClr val="bg1"/>
                          </a:solidFill>
                          <a:latin typeface="Bierstadt" panose="020B0004020202020204" pitchFamily="34" charset="0"/>
                        </a:rPr>
                        <a:t>8.60%</a:t>
                      </a:r>
                    </a:p>
                  </a:txBody>
                  <a:tcPr anchor="ctr"/>
                </a:tc>
                <a:extLst>
                  <a:ext uri="{0D108BD9-81ED-4DB2-BD59-A6C34878D82A}">
                    <a16:rowId xmlns:a16="http://schemas.microsoft.com/office/drawing/2014/main" val="1455314511"/>
                  </a:ext>
                </a:extLst>
              </a:tr>
              <a:tr h="266024">
                <a:tc>
                  <a:txBody>
                    <a:bodyPr/>
                    <a:lstStyle/>
                    <a:p>
                      <a:r>
                        <a:rPr lang="en-GB" sz="900" dirty="0">
                          <a:solidFill>
                            <a:schemeClr val="bg1"/>
                          </a:solidFill>
                          <a:latin typeface="Bierstadt" panose="020B0004020202020204" pitchFamily="34" charset="0"/>
                        </a:rPr>
                        <a:t>NVIDIA Corp.</a:t>
                      </a:r>
                    </a:p>
                  </a:txBody>
                  <a:tcPr marL="36000" marR="36000" anchor="ctr"/>
                </a:tc>
                <a:tc>
                  <a:txBody>
                    <a:bodyPr/>
                    <a:lstStyle/>
                    <a:p>
                      <a:pPr algn="ctr"/>
                      <a:r>
                        <a:rPr lang="en-GB" sz="900" dirty="0">
                          <a:solidFill>
                            <a:schemeClr val="bg1"/>
                          </a:solidFill>
                          <a:latin typeface="Bierstadt" panose="020B0004020202020204" pitchFamily="34" charset="0"/>
                        </a:rPr>
                        <a:t>8.16%</a:t>
                      </a:r>
                    </a:p>
                  </a:txBody>
                  <a:tcPr anchor="ctr"/>
                </a:tc>
                <a:extLst>
                  <a:ext uri="{0D108BD9-81ED-4DB2-BD59-A6C34878D82A}">
                    <a16:rowId xmlns:a16="http://schemas.microsoft.com/office/drawing/2014/main" val="3743326145"/>
                  </a:ext>
                </a:extLst>
              </a:tr>
              <a:tr h="266024">
                <a:tc>
                  <a:txBody>
                    <a:bodyPr/>
                    <a:lstStyle/>
                    <a:p>
                      <a:r>
                        <a:rPr lang="en-GB" sz="900" dirty="0">
                          <a:solidFill>
                            <a:schemeClr val="bg1"/>
                          </a:solidFill>
                          <a:latin typeface="Bierstadt" panose="020B0004020202020204" pitchFamily="34" charset="0"/>
                        </a:rPr>
                        <a:t>First Quantum Minerals Ltd</a:t>
                      </a:r>
                    </a:p>
                  </a:txBody>
                  <a:tcPr marL="36000" marR="36000" anchor="ctr"/>
                </a:tc>
                <a:tc>
                  <a:txBody>
                    <a:bodyPr/>
                    <a:lstStyle/>
                    <a:p>
                      <a:pPr algn="ctr"/>
                      <a:r>
                        <a:rPr lang="en-GB" sz="900" dirty="0">
                          <a:solidFill>
                            <a:schemeClr val="bg1"/>
                          </a:solidFill>
                          <a:latin typeface="Bierstadt" panose="020B0004020202020204" pitchFamily="34" charset="0"/>
                        </a:rPr>
                        <a:t>7.94%</a:t>
                      </a:r>
                    </a:p>
                  </a:txBody>
                  <a:tcPr anchor="ctr"/>
                </a:tc>
                <a:extLst>
                  <a:ext uri="{0D108BD9-81ED-4DB2-BD59-A6C34878D82A}">
                    <a16:rowId xmlns:a16="http://schemas.microsoft.com/office/drawing/2014/main" val="34337268"/>
                  </a:ext>
                </a:extLst>
              </a:tr>
              <a:tr h="266024">
                <a:tc>
                  <a:txBody>
                    <a:bodyPr/>
                    <a:lstStyle/>
                    <a:p>
                      <a:r>
                        <a:rPr lang="en-GB" sz="900" dirty="0">
                          <a:solidFill>
                            <a:schemeClr val="bg1"/>
                          </a:solidFill>
                          <a:latin typeface="Bierstadt" panose="020B0004020202020204" pitchFamily="34" charset="0"/>
                        </a:rPr>
                        <a:t>JPMorgan Chase &amp; Co.</a:t>
                      </a:r>
                    </a:p>
                  </a:txBody>
                  <a:tcPr marL="36000" marR="36000" anchor="ctr"/>
                </a:tc>
                <a:tc>
                  <a:txBody>
                    <a:bodyPr/>
                    <a:lstStyle/>
                    <a:p>
                      <a:pPr algn="ctr"/>
                      <a:r>
                        <a:rPr lang="en-GB" sz="900" dirty="0">
                          <a:solidFill>
                            <a:schemeClr val="bg1"/>
                          </a:solidFill>
                          <a:latin typeface="Bierstadt" panose="020B0004020202020204" pitchFamily="34" charset="0"/>
                        </a:rPr>
                        <a:t>7.20%</a:t>
                      </a:r>
                    </a:p>
                  </a:txBody>
                  <a:tcPr anchor="ctr"/>
                </a:tc>
                <a:extLst>
                  <a:ext uri="{0D108BD9-81ED-4DB2-BD59-A6C34878D82A}">
                    <a16:rowId xmlns:a16="http://schemas.microsoft.com/office/drawing/2014/main" val="3116781964"/>
                  </a:ext>
                </a:extLst>
              </a:tr>
              <a:tr h="266024">
                <a:tc>
                  <a:txBody>
                    <a:bodyPr/>
                    <a:lstStyle/>
                    <a:p>
                      <a:r>
                        <a:rPr lang="en-GB" sz="900" dirty="0">
                          <a:solidFill>
                            <a:schemeClr val="bg1"/>
                          </a:solidFill>
                          <a:latin typeface="Bierstadt" panose="020B0004020202020204" pitchFamily="34" charset="0"/>
                        </a:rPr>
                        <a:t>Meta Platforms Inc.</a:t>
                      </a:r>
                    </a:p>
                  </a:txBody>
                  <a:tcPr marL="36000" marR="36000" anchor="ctr"/>
                </a:tc>
                <a:tc>
                  <a:txBody>
                    <a:bodyPr/>
                    <a:lstStyle/>
                    <a:p>
                      <a:pPr algn="ctr"/>
                      <a:r>
                        <a:rPr lang="en-GB" sz="900" dirty="0">
                          <a:solidFill>
                            <a:schemeClr val="bg1"/>
                          </a:solidFill>
                          <a:latin typeface="Bierstadt" panose="020B0004020202020204" pitchFamily="34" charset="0"/>
                        </a:rPr>
                        <a:t>6.34%</a:t>
                      </a:r>
                    </a:p>
                  </a:txBody>
                  <a:tcPr anchor="ctr"/>
                </a:tc>
                <a:extLst>
                  <a:ext uri="{0D108BD9-81ED-4DB2-BD59-A6C34878D82A}">
                    <a16:rowId xmlns:a16="http://schemas.microsoft.com/office/drawing/2014/main" val="3350189937"/>
                  </a:ext>
                </a:extLst>
              </a:tr>
            </a:tbl>
          </a:graphicData>
        </a:graphic>
      </p:graphicFrame>
      <p:pic>
        <p:nvPicPr>
          <p:cNvPr id="1154" name="Picture 1153">
            <a:extLst>
              <a:ext uri="{FF2B5EF4-FFF2-40B4-BE49-F238E27FC236}">
                <a16:creationId xmlns:a16="http://schemas.microsoft.com/office/drawing/2014/main" id="{49B199E8-778D-2570-ADCC-BCC2EC8328F9}"/>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p:blipFill>
        <p:spPr>
          <a:xfrm>
            <a:off x="5185390" y="4313254"/>
            <a:ext cx="409089" cy="191932"/>
          </a:xfrm>
          <a:prstGeom prst="rect">
            <a:avLst/>
          </a:prstGeom>
        </p:spPr>
      </p:pic>
      <p:pic>
        <p:nvPicPr>
          <p:cNvPr id="1153" name="Picture 1152">
            <a:extLst>
              <a:ext uri="{FF2B5EF4-FFF2-40B4-BE49-F238E27FC236}">
                <a16:creationId xmlns:a16="http://schemas.microsoft.com/office/drawing/2014/main" id="{E16501DF-2F2C-91E3-C393-56BFE5D9703E}"/>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Lst>
          </a:blip>
          <a:stretch>
            <a:fillRect/>
          </a:stretch>
        </p:blipFill>
        <p:spPr>
          <a:xfrm>
            <a:off x="5128379" y="3858182"/>
            <a:ext cx="523112" cy="95905"/>
          </a:xfrm>
          <a:prstGeom prst="rect">
            <a:avLst/>
          </a:prstGeom>
        </p:spPr>
      </p:pic>
      <p:sp>
        <p:nvSpPr>
          <p:cNvPr id="5" name="Return since inception textbox">
            <a:extLst>
              <a:ext uri="{FF2B5EF4-FFF2-40B4-BE49-F238E27FC236}">
                <a16:creationId xmlns:a16="http://schemas.microsoft.com/office/drawing/2014/main" id="{FF8C9359-079B-6CB5-3198-486A750D758F}"/>
              </a:ext>
            </a:extLst>
          </p:cNvPr>
          <p:cNvSpPr/>
          <p:nvPr/>
        </p:nvSpPr>
        <p:spPr>
          <a:xfrm>
            <a:off x="364607"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return in USD </a:t>
            </a:r>
            <a:br>
              <a:rPr lang="en-GB" sz="700" dirty="0">
                <a:solidFill>
                  <a:schemeClr val="bg1"/>
                </a:solidFill>
              </a:rPr>
            </a:br>
            <a:r>
              <a:rPr lang="en-GB" sz="700" dirty="0">
                <a:solidFill>
                  <a:schemeClr val="bg1"/>
                </a:solidFill>
              </a:rPr>
              <a:t>since inception</a:t>
            </a:r>
            <a:endParaRPr lang="en-GB" sz="1000" b="1" dirty="0">
              <a:solidFill>
                <a:schemeClr val="bg1"/>
              </a:solidFill>
            </a:endParaRPr>
          </a:p>
        </p:txBody>
      </p:sp>
      <p:pic>
        <p:nvPicPr>
          <p:cNvPr id="1156" name="Picture 1155">
            <a:extLst>
              <a:ext uri="{FF2B5EF4-FFF2-40B4-BE49-F238E27FC236}">
                <a16:creationId xmlns:a16="http://schemas.microsoft.com/office/drawing/2014/main" id="{704277E7-DB22-E266-5D21-BD9C00F72855}"/>
              </a:ext>
            </a:extLst>
          </p:cNvPr>
          <p:cNvPicPr>
            <a:picLocks noChangeAspect="1"/>
          </p:cNvPicPr>
          <p:nvPr/>
        </p:nvPicPr>
        <p:blipFill>
          <a:blip r:embed="rId18"/>
          <a:srcRect l="28587" r="28587"/>
          <a:stretch>
            <a:fillRect/>
          </a:stretch>
        </p:blipFill>
        <p:spPr>
          <a:xfrm>
            <a:off x="5272617" y="4057954"/>
            <a:ext cx="234635" cy="182629"/>
          </a:xfrm>
          <a:prstGeom prst="rect">
            <a:avLst/>
          </a:prstGeom>
        </p:spPr>
      </p:pic>
      <p:pic>
        <p:nvPicPr>
          <p:cNvPr id="1157" name="Picture 1156">
            <a:extLst>
              <a:ext uri="{FF2B5EF4-FFF2-40B4-BE49-F238E27FC236}">
                <a16:creationId xmlns:a16="http://schemas.microsoft.com/office/drawing/2014/main" id="{B3FAC5A4-A457-C2FF-A22A-0BF707979552}"/>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Lst>
          </a:blip>
          <a:stretch>
            <a:fillRect/>
          </a:stretch>
        </p:blipFill>
        <p:spPr>
          <a:xfrm>
            <a:off x="5113390" y="4620541"/>
            <a:ext cx="553088" cy="113614"/>
          </a:xfrm>
          <a:prstGeom prst="rect">
            <a:avLst/>
          </a:prstGeom>
        </p:spPr>
      </p:pic>
      <p:pic>
        <p:nvPicPr>
          <p:cNvPr id="1158" name="Picture 1157">
            <a:extLst>
              <a:ext uri="{FF2B5EF4-FFF2-40B4-BE49-F238E27FC236}">
                <a16:creationId xmlns:a16="http://schemas.microsoft.com/office/drawing/2014/main" id="{002F52CE-9C6A-941E-158B-2E461D399CDF}"/>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5163456" y="4909910"/>
            <a:ext cx="452956" cy="91260"/>
          </a:xfrm>
          <a:prstGeom prst="rect">
            <a:avLst/>
          </a:prstGeom>
        </p:spPr>
      </p:pic>
      <p:sp>
        <p:nvSpPr>
          <p:cNvPr id="10" name="avg compounded yearly return since inception textbox">
            <a:extLst>
              <a:ext uri="{FF2B5EF4-FFF2-40B4-BE49-F238E27FC236}">
                <a16:creationId xmlns:a16="http://schemas.microsoft.com/office/drawing/2014/main" id="{5ACF03ED-94B4-9721-D6EE-2F6EAEB25292}"/>
              </a:ext>
            </a:extLst>
          </p:cNvPr>
          <p:cNvSpPr/>
          <p:nvPr/>
        </p:nvSpPr>
        <p:spPr>
          <a:xfrm>
            <a:off x="2371535"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Avg. </a:t>
            </a:r>
            <a:r>
              <a:rPr lang="en-US" sz="700" dirty="0">
                <a:solidFill>
                  <a:schemeClr val="bg1"/>
                </a:solidFill>
              </a:rPr>
              <a:t>compounded yearly</a:t>
            </a:r>
            <a:br>
              <a:rPr lang="en-US" sz="700" dirty="0">
                <a:solidFill>
                  <a:schemeClr val="bg1"/>
                </a:solidFill>
              </a:rPr>
            </a:br>
            <a:r>
              <a:rPr lang="en-US" sz="700" dirty="0">
                <a:solidFill>
                  <a:schemeClr val="bg1"/>
                </a:solidFill>
              </a:rPr>
              <a:t>return since inception</a:t>
            </a:r>
            <a:endParaRPr lang="en-GB" sz="900" b="1" dirty="0">
              <a:solidFill>
                <a:schemeClr val="bg1"/>
              </a:solidFill>
            </a:endParaRPr>
          </a:p>
        </p:txBody>
      </p:sp>
      <p:sp>
        <p:nvSpPr>
          <p:cNvPr id="9" name="YTD return textbox">
            <a:extLst>
              <a:ext uri="{FF2B5EF4-FFF2-40B4-BE49-F238E27FC236}">
                <a16:creationId xmlns:a16="http://schemas.microsoft.com/office/drawing/2014/main" id="{4F743491-8F3F-770B-A226-293C9C2C03FC}"/>
              </a:ext>
            </a:extLst>
          </p:cNvPr>
          <p:cNvSpPr/>
          <p:nvPr/>
        </p:nvSpPr>
        <p:spPr>
          <a:xfrm>
            <a:off x="1368071"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YTD return </a:t>
            </a:r>
            <a:br>
              <a:rPr lang="en-GB" sz="700" dirty="0">
                <a:solidFill>
                  <a:schemeClr val="bg1"/>
                </a:solidFill>
              </a:rPr>
            </a:br>
            <a:r>
              <a:rPr lang="en-GB" sz="700" dirty="0">
                <a:solidFill>
                  <a:schemeClr val="bg1"/>
                </a:solidFill>
              </a:rPr>
              <a:t>in USD</a:t>
            </a:r>
            <a:endParaRPr lang="en-GB" sz="1000" b="1" dirty="0">
              <a:solidFill>
                <a:schemeClr val="bg1"/>
              </a:solidFill>
            </a:endParaRPr>
          </a:p>
        </p:txBody>
      </p:sp>
      <p:graphicFrame>
        <p:nvGraphicFramePr>
          <p:cNvPr id="6" name="VOLATILITY_TABLE">
            <a:extLst>
              <a:ext uri="{FF2B5EF4-FFF2-40B4-BE49-F238E27FC236}">
                <a16:creationId xmlns:a16="http://schemas.microsoft.com/office/drawing/2014/main" id="{181714F8-70BB-E94C-F57D-21041F9D1C79}"/>
              </a:ext>
            </a:extLst>
          </p:cNvPr>
          <p:cNvGraphicFramePr>
            <a:graphicFrameLocks noGrp="1"/>
          </p:cNvGraphicFramePr>
          <p:nvPr>
            <p:extLst>
              <p:ext uri="{D42A27DB-BD31-4B8C-83A1-F6EECF244321}">
                <p14:modId xmlns:p14="http://schemas.microsoft.com/office/powerpoint/2010/main" val="388570663"/>
              </p:ext>
            </p:extLst>
          </p:nvPr>
        </p:nvGraphicFramePr>
        <p:xfrm>
          <a:off x="3561469" y="5410372"/>
          <a:ext cx="2925455" cy="1264804"/>
        </p:xfrm>
        <a:graphic>
          <a:graphicData uri="http://schemas.openxmlformats.org/drawingml/2006/table">
            <a:tbl>
              <a:tblPr firstRow="1" bandRow="1">
                <a:tableStyleId>{C083E6E3-FA7D-4D7B-A595-EF9225AFEA82}</a:tableStyleId>
              </a:tblPr>
              <a:tblGrid>
                <a:gridCol w="1205603">
                  <a:extLst>
                    <a:ext uri="{9D8B030D-6E8A-4147-A177-3AD203B41FA5}">
                      <a16:colId xmlns:a16="http://schemas.microsoft.com/office/drawing/2014/main" val="3093225150"/>
                    </a:ext>
                  </a:extLst>
                </a:gridCol>
                <a:gridCol w="859926">
                  <a:extLst>
                    <a:ext uri="{9D8B030D-6E8A-4147-A177-3AD203B41FA5}">
                      <a16:colId xmlns:a16="http://schemas.microsoft.com/office/drawing/2014/main" val="2083068548"/>
                    </a:ext>
                  </a:extLst>
                </a:gridCol>
                <a:gridCol w="859926">
                  <a:extLst>
                    <a:ext uri="{9D8B030D-6E8A-4147-A177-3AD203B41FA5}">
                      <a16:colId xmlns:a16="http://schemas.microsoft.com/office/drawing/2014/main" val="707442416"/>
                    </a:ext>
                  </a:extLst>
                </a:gridCol>
              </a:tblGrid>
              <a:tr h="237672">
                <a:tc>
                  <a:txBody>
                    <a:bodyPr/>
                    <a:lstStyle/>
                    <a:p>
                      <a:r>
                        <a:rPr lang="en-GB" sz="900" dirty="0">
                          <a:solidFill>
                            <a:schemeClr val="bg1"/>
                          </a:solidFill>
                          <a:latin typeface="Bierstadt" panose="020B0004020202020204" pitchFamily="34" charset="0"/>
                        </a:rPr>
                        <a:t>Metric</a:t>
                      </a:r>
                    </a:p>
                  </a:txBody>
                  <a:tcPr marL="36000" marR="36000"/>
                </a:tc>
                <a:tc>
                  <a:txBody>
                    <a:bodyPr/>
                    <a:lstStyle/>
                    <a:p>
                      <a:pPr algn="ctr"/>
                      <a:r>
                        <a:rPr lang="en-GB" sz="900" dirty="0">
                          <a:solidFill>
                            <a:schemeClr val="bg1"/>
                          </a:solidFill>
                          <a:latin typeface="Bierstadt" panose="020B0004020202020204" pitchFamily="34" charset="0"/>
                        </a:rPr>
                        <a:t>Portfolio</a:t>
                      </a:r>
                    </a:p>
                  </a:txBody>
                  <a:tcPr/>
                </a:tc>
                <a:tc>
                  <a:txBody>
                    <a:bodyPr/>
                    <a:lstStyle/>
                    <a:p>
                      <a:pPr algn="ctr"/>
                      <a:r>
                        <a:rPr lang="en-GB" sz="900" dirty="0">
                          <a:solidFill>
                            <a:schemeClr val="bg1"/>
                          </a:solidFill>
                          <a:latin typeface="Bierstadt" panose="020B0004020202020204" pitchFamily="34" charset="0"/>
                        </a:rPr>
                        <a:t>Benchmark</a:t>
                      </a:r>
                    </a:p>
                  </a:txBody>
                  <a:tcPr/>
                </a:tc>
                <a:extLst>
                  <a:ext uri="{0D108BD9-81ED-4DB2-BD59-A6C34878D82A}">
                    <a16:rowId xmlns:a16="http://schemas.microsoft.com/office/drawing/2014/main" val="3994823784"/>
                  </a:ext>
                </a:extLst>
              </a:tr>
              <a:tr h="323188">
                <a:tc>
                  <a:txBody>
                    <a:bodyPr/>
                    <a:lstStyle/>
                    <a:p>
                      <a:r>
                        <a:rPr lang="en-GB" sz="900" dirty="0">
                          <a:solidFill>
                            <a:schemeClr val="bg1"/>
                          </a:solidFill>
                          <a:latin typeface="Bierstadt" panose="020B0004020202020204" pitchFamily="34" charset="0"/>
                        </a:rPr>
                        <a:t>Mean monthly return</a:t>
                      </a:r>
                    </a:p>
                  </a:txBody>
                  <a:tcPr marL="36000" marR="36000" anchor="ctr"/>
                </a:tc>
                <a:tc>
                  <a:txBody>
                    <a:bodyPr/>
                    <a:lstStyle/>
                    <a:p>
                      <a:pPr algn="ctr"/>
                      <a:r>
                        <a:rPr lang="en-GB" sz="900" dirty="0">
                          <a:solidFill>
                            <a:schemeClr val="bg1"/>
                          </a:solidFill>
                          <a:latin typeface="Bierstadt" panose="020B0004020202020204" pitchFamily="34" charset="0"/>
                        </a:rPr>
                        <a:t>0.88%</a:t>
                      </a:r>
                    </a:p>
                  </a:txBody>
                  <a:tcPr anchor="ctr"/>
                </a:tc>
                <a:tc>
                  <a:txBody>
                    <a:bodyPr/>
                    <a:lstStyle/>
                    <a:p>
                      <a:pPr algn="ctr"/>
                      <a:r>
                        <a:rPr lang="en-GB" sz="900" dirty="0">
                          <a:solidFill>
                            <a:schemeClr val="bg1"/>
                          </a:solidFill>
                          <a:latin typeface="Bierstadt" panose="020B0004020202020204" pitchFamily="34" charset="0"/>
                        </a:rPr>
                        <a:t>0.80%</a:t>
                      </a:r>
                    </a:p>
                  </a:txBody>
                  <a:tcPr anchor="ctr"/>
                </a:tc>
                <a:extLst>
                  <a:ext uri="{0D108BD9-81ED-4DB2-BD59-A6C34878D82A}">
                    <a16:rowId xmlns:a16="http://schemas.microsoft.com/office/drawing/2014/main" val="3917662697"/>
                  </a:ext>
                </a:extLst>
              </a:tr>
              <a:tr h="237672">
                <a:tc>
                  <a:txBody>
                    <a:bodyPr/>
                    <a:lstStyle/>
                    <a:p>
                      <a:r>
                        <a:rPr lang="en-GB" sz="900" dirty="0">
                          <a:solidFill>
                            <a:schemeClr val="bg1"/>
                          </a:solidFill>
                          <a:latin typeface="Bierstadt" panose="020B0004020202020204" pitchFamily="34" charset="0"/>
                        </a:rPr>
                        <a:t>Std Dev (Monthly)</a:t>
                      </a:r>
                    </a:p>
                  </a:txBody>
                  <a:tcPr marL="36000" marR="36000" anchor="ctr"/>
                </a:tc>
                <a:tc>
                  <a:txBody>
                    <a:bodyPr/>
                    <a:lstStyle/>
                    <a:p>
                      <a:pPr algn="ctr"/>
                      <a:r>
                        <a:rPr lang="en-GB" sz="900" dirty="0">
                          <a:solidFill>
                            <a:schemeClr val="bg1"/>
                          </a:solidFill>
                          <a:latin typeface="Bierstadt" panose="020B0004020202020204" pitchFamily="34" charset="0"/>
                        </a:rPr>
                        <a:t>5.57%</a:t>
                      </a:r>
                    </a:p>
                  </a:txBody>
                  <a:tcPr anchor="ctr"/>
                </a:tc>
                <a:tc>
                  <a:txBody>
                    <a:bodyPr/>
                    <a:lstStyle/>
                    <a:p>
                      <a:pPr algn="ctr"/>
                      <a:r>
                        <a:rPr lang="en-GB" sz="900" dirty="0">
                          <a:solidFill>
                            <a:schemeClr val="bg1"/>
                          </a:solidFill>
                          <a:latin typeface="Bierstadt" panose="020B0004020202020204" pitchFamily="34" charset="0"/>
                        </a:rPr>
                        <a:t>4.50%</a:t>
                      </a:r>
                    </a:p>
                  </a:txBody>
                  <a:tcPr anchor="ctr"/>
                </a:tc>
                <a:extLst>
                  <a:ext uri="{0D108BD9-81ED-4DB2-BD59-A6C34878D82A}">
                    <a16:rowId xmlns:a16="http://schemas.microsoft.com/office/drawing/2014/main" val="3393200440"/>
                  </a:ext>
                </a:extLst>
              </a:tr>
              <a:tr h="237672">
                <a:tc>
                  <a:txBody>
                    <a:bodyPr/>
                    <a:lstStyle/>
                    <a:p>
                      <a:r>
                        <a:rPr lang="en-GB" sz="900" b="1" dirty="0">
                          <a:solidFill>
                            <a:schemeClr val="bg1"/>
                          </a:solidFill>
                          <a:latin typeface="Bierstadt" panose="020B0004020202020204" pitchFamily="34" charset="0"/>
                        </a:rPr>
                        <a:t>Annualized Volatility</a:t>
                      </a:r>
                    </a:p>
                  </a:txBody>
                  <a:tcPr marL="36000" marR="36000" anchor="ctr"/>
                </a:tc>
                <a:tc>
                  <a:txBody>
                    <a:bodyPr/>
                    <a:lstStyle/>
                    <a:p>
                      <a:pPr algn="ctr"/>
                      <a:r>
                        <a:rPr lang="en-GB" sz="900" b="1" dirty="0">
                          <a:solidFill>
                            <a:schemeClr val="bg1"/>
                          </a:solidFill>
                          <a:latin typeface="Bierstadt" panose="020B0004020202020204" pitchFamily="34" charset="0"/>
                        </a:rPr>
                        <a:t>19.30%</a:t>
                      </a:r>
                    </a:p>
                  </a:txBody>
                  <a:tcPr anchor="ctr"/>
                </a:tc>
                <a:tc>
                  <a:txBody>
                    <a:bodyPr/>
                    <a:lstStyle/>
                    <a:p>
                      <a:pPr algn="ctr"/>
                      <a:r>
                        <a:rPr lang="en-GB" sz="900" b="1" dirty="0">
                          <a:solidFill>
                            <a:schemeClr val="bg1"/>
                          </a:solidFill>
                          <a:latin typeface="Bierstadt" panose="020B0004020202020204" pitchFamily="34" charset="0"/>
                        </a:rPr>
                        <a:t>15.58%</a:t>
                      </a:r>
                    </a:p>
                  </a:txBody>
                  <a:tcPr anchor="ctr"/>
                </a:tc>
                <a:extLst>
                  <a:ext uri="{0D108BD9-81ED-4DB2-BD59-A6C34878D82A}">
                    <a16:rowId xmlns:a16="http://schemas.microsoft.com/office/drawing/2014/main" val="1147317178"/>
                  </a:ext>
                </a:extLst>
              </a:tr>
              <a:tr h="0">
                <a:tc>
                  <a:txBody>
                    <a:bodyPr/>
                    <a:lstStyle/>
                    <a:p>
                      <a:r>
                        <a:rPr lang="en-GB" sz="900" b="0" dirty="0">
                          <a:solidFill>
                            <a:schemeClr val="bg1"/>
                          </a:solidFill>
                          <a:latin typeface="Bierstadt" panose="020B0004020202020204" pitchFamily="34" charset="0"/>
                        </a:rPr>
                        <a:t>Sharpe ratio</a:t>
                      </a:r>
                    </a:p>
                  </a:txBody>
                  <a:tcPr marL="36000" marR="36000" anchor="ctr"/>
                </a:tc>
                <a:tc>
                  <a:txBody>
                    <a:bodyPr/>
                    <a:lstStyle/>
                    <a:p>
                      <a:pPr algn="ctr"/>
                      <a:r>
                        <a:rPr lang="en-GB" sz="900" b="0" dirty="0">
                          <a:solidFill>
                            <a:schemeClr val="bg1"/>
                          </a:solidFill>
                          <a:latin typeface="Bierstadt" panose="020B0004020202020204" pitchFamily="34" charset="0"/>
                        </a:rPr>
                        <a:t>0.47</a:t>
                      </a:r>
                    </a:p>
                  </a:txBody>
                  <a:tcPr anchor="ctr"/>
                </a:tc>
                <a:tc>
                  <a:txBody>
                    <a:bodyPr/>
                    <a:lstStyle/>
                    <a:p>
                      <a:pPr algn="ctr"/>
                      <a:r>
                        <a:rPr lang="en-GB" sz="900" b="0" dirty="0">
                          <a:solidFill>
                            <a:schemeClr val="bg1"/>
                          </a:solidFill>
                          <a:latin typeface="Bierstadt" panose="020B0004020202020204" pitchFamily="34" charset="0"/>
                        </a:rPr>
                        <a:t>0.57</a:t>
                      </a:r>
                    </a:p>
                  </a:txBody>
                  <a:tcPr anchor="ctr"/>
                </a:tc>
                <a:extLst>
                  <a:ext uri="{0D108BD9-81ED-4DB2-BD59-A6C34878D82A}">
                    <a16:rowId xmlns:a16="http://schemas.microsoft.com/office/drawing/2014/main" val="802987148"/>
                  </a:ext>
                </a:extLst>
              </a:tr>
            </a:tbl>
          </a:graphicData>
        </a:graphic>
      </p:graphicFrame>
      <p:grpSp>
        <p:nvGrpSpPr>
          <p:cNvPr id="7" name="Group 6">
            <a:extLst>
              <a:ext uri="{FF2B5EF4-FFF2-40B4-BE49-F238E27FC236}">
                <a16:creationId xmlns:a16="http://schemas.microsoft.com/office/drawing/2014/main" id="{10A7D411-409F-A063-D278-8929DD099352}"/>
              </a:ext>
            </a:extLst>
          </p:cNvPr>
          <p:cNvGrpSpPr/>
          <p:nvPr/>
        </p:nvGrpSpPr>
        <p:grpSpPr>
          <a:xfrm>
            <a:off x="3483000" y="3162351"/>
            <a:ext cx="3082392" cy="232459"/>
            <a:chOff x="292608" y="1013780"/>
            <a:chExt cx="3082392" cy="232459"/>
          </a:xfrm>
        </p:grpSpPr>
        <p:cxnSp>
          <p:nvCxnSpPr>
            <p:cNvPr id="8" name="Straight Connector 7">
              <a:extLst>
                <a:ext uri="{FF2B5EF4-FFF2-40B4-BE49-F238E27FC236}">
                  <a16:creationId xmlns:a16="http://schemas.microsoft.com/office/drawing/2014/main" id="{612F75D1-B1E7-FD43-4229-5B177B8433AA}"/>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FCFE3C-E54F-00D4-0602-B5506729367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Top 5 holdings</a:t>
              </a:r>
              <a:endParaRPr lang="en-GB" sz="1000" b="1" dirty="0">
                <a:solidFill>
                  <a:schemeClr val="bg1"/>
                </a:solidFill>
                <a:latin typeface="Bierstadt"/>
              </a:endParaRPr>
            </a:p>
          </p:txBody>
        </p:sp>
      </p:grpSp>
      <p:graphicFrame>
        <p:nvGraphicFramePr>
          <p:cNvPr id="16" name="CHART_PERF_LINE">
            <a:extLst>
              <a:ext uri="{FF2B5EF4-FFF2-40B4-BE49-F238E27FC236}">
                <a16:creationId xmlns:a16="http://schemas.microsoft.com/office/drawing/2014/main" id="{E4A34720-26F5-61E7-9AE8-9FBD771B264F}"/>
              </a:ext>
            </a:extLst>
          </p:cNvPr>
          <p:cNvGraphicFramePr>
            <a:graphicFrameLocks/>
          </p:cNvGraphicFramePr>
          <p:nvPr>
            <p:extLst>
              <p:ext uri="{D42A27DB-BD31-4B8C-83A1-F6EECF244321}">
                <p14:modId xmlns:p14="http://schemas.microsoft.com/office/powerpoint/2010/main" val="3645003504"/>
              </p:ext>
            </p:extLst>
          </p:nvPr>
        </p:nvGraphicFramePr>
        <p:xfrm>
          <a:off x="292608" y="4298812"/>
          <a:ext cx="3082392" cy="2446545"/>
        </p:xfrm>
        <a:graphic>
          <a:graphicData uri="http://schemas.openxmlformats.org/drawingml/2006/chart">
            <c:chart xmlns:c="http://schemas.openxmlformats.org/drawingml/2006/chart" xmlns:r="http://schemas.openxmlformats.org/officeDocument/2006/relationships" r:id="rId23"/>
          </a:graphicData>
        </a:graphic>
      </p:graphicFrame>
      <p:sp>
        <p:nvSpPr>
          <p:cNvPr id="14" name="RET_SINCE_INCEPT">
            <a:extLst>
              <a:ext uri="{FF2B5EF4-FFF2-40B4-BE49-F238E27FC236}">
                <a16:creationId xmlns:a16="http://schemas.microsoft.com/office/drawing/2014/main" id="{1680B882-72BD-71AE-6730-B8ECD1E99FA0}"/>
              </a:ext>
            </a:extLst>
          </p:cNvPr>
          <p:cNvSpPr/>
          <p:nvPr/>
        </p:nvSpPr>
        <p:spPr>
          <a:xfrm>
            <a:off x="364607"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42.39%</a:t>
            </a:r>
            <a:br>
              <a:rPr lang="en-GB" sz="1000" b="1" dirty="0">
                <a:solidFill>
                  <a:schemeClr val="bg1"/>
                </a:solidFill>
              </a:rPr>
            </a:br>
            <a:endParaRPr lang="en-GB" sz="1000" b="1" dirty="0">
              <a:solidFill>
                <a:schemeClr val="bg1"/>
              </a:solidFill>
            </a:endParaRPr>
          </a:p>
        </p:txBody>
      </p:sp>
      <p:sp>
        <p:nvSpPr>
          <p:cNvPr id="15" name="YTD_RETURN_USD">
            <a:extLst>
              <a:ext uri="{FF2B5EF4-FFF2-40B4-BE49-F238E27FC236}">
                <a16:creationId xmlns:a16="http://schemas.microsoft.com/office/drawing/2014/main" id="{392C4E61-6CE6-4980-5659-C6652696343C}"/>
              </a:ext>
            </a:extLst>
          </p:cNvPr>
          <p:cNvSpPr/>
          <p:nvPr/>
        </p:nvSpPr>
        <p:spPr>
          <a:xfrm>
            <a:off x="1368071"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16.65%</a:t>
            </a:r>
            <a:endParaRPr lang="en-GB" sz="1000" b="1" dirty="0">
              <a:solidFill>
                <a:schemeClr val="bg1"/>
              </a:solidFill>
            </a:endParaRPr>
          </a:p>
        </p:txBody>
      </p:sp>
      <p:sp>
        <p:nvSpPr>
          <p:cNvPr id="17" name="AVG_Y_COMP_RET_SINCE_INCEPT">
            <a:extLst>
              <a:ext uri="{FF2B5EF4-FFF2-40B4-BE49-F238E27FC236}">
                <a16:creationId xmlns:a16="http://schemas.microsoft.com/office/drawing/2014/main" id="{3B7398A2-22FB-9185-21DD-EABB29FA203D}"/>
              </a:ext>
            </a:extLst>
          </p:cNvPr>
          <p:cNvSpPr/>
          <p:nvPr/>
        </p:nvSpPr>
        <p:spPr>
          <a:xfrm>
            <a:off x="2371535"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9.06%</a:t>
            </a:r>
            <a:endParaRPr lang="en-GB" sz="1000" b="1" dirty="0">
              <a:solidFill>
                <a:schemeClr val="bg1"/>
              </a:solidFill>
            </a:endParaRPr>
          </a:p>
        </p:txBody>
      </p:sp>
    </p:spTree>
    <p:extLst>
      <p:ext uri="{BB962C8B-B14F-4D97-AF65-F5344CB8AC3E}">
        <p14:creationId xmlns:p14="http://schemas.microsoft.com/office/powerpoint/2010/main" val="108633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8F08F-1CCE-FF7E-0781-148612BCC4E5}"/>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2779A11D-480E-334A-262D-11CDEC753E12}"/>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FFBF8C92-1768-16F6-C6A4-7E343B895641}"/>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3AA0F09E-8CD5-6807-79D1-A66E897C7BBD}"/>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EAE14FC9-B929-8BEE-D671-582E36D9BA34}"/>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grpSp>
        <p:nvGrpSpPr>
          <p:cNvPr id="1031" name="Group 1030">
            <a:extLst>
              <a:ext uri="{FF2B5EF4-FFF2-40B4-BE49-F238E27FC236}">
                <a16:creationId xmlns:a16="http://schemas.microsoft.com/office/drawing/2014/main" id="{3D7D9478-AA93-8084-8BED-8FB551C77090}"/>
              </a:ext>
            </a:extLst>
          </p:cNvPr>
          <p:cNvGrpSpPr/>
          <p:nvPr/>
        </p:nvGrpSpPr>
        <p:grpSpPr>
          <a:xfrm>
            <a:off x="292608" y="348002"/>
            <a:ext cx="4364736" cy="502385"/>
            <a:chOff x="292608" y="157085"/>
            <a:chExt cx="4364736" cy="502385"/>
          </a:xfrm>
        </p:grpSpPr>
        <p:sp>
          <p:nvSpPr>
            <p:cNvPr id="61" name="TextBox 60">
              <a:extLst>
                <a:ext uri="{FF2B5EF4-FFF2-40B4-BE49-F238E27FC236}">
                  <a16:creationId xmlns:a16="http://schemas.microsoft.com/office/drawing/2014/main" id="{3E360A5B-C17E-37B0-5EF4-39C71FE4AF1A}"/>
                </a:ext>
              </a:extLst>
            </p:cNvPr>
            <p:cNvSpPr txBox="1"/>
            <p:nvPr/>
          </p:nvSpPr>
          <p:spPr>
            <a:xfrm>
              <a:off x="292608" y="157085"/>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_2">
              <a:extLst>
                <a:ext uri="{FF2B5EF4-FFF2-40B4-BE49-F238E27FC236}">
                  <a16:creationId xmlns:a16="http://schemas.microsoft.com/office/drawing/2014/main" id="{51F57ADC-A945-6C43-7EA4-C14722602195}"/>
                </a:ext>
              </a:extLst>
            </p:cNvPr>
            <p:cNvSpPr txBox="1"/>
            <p:nvPr/>
          </p:nvSpPr>
          <p:spPr>
            <a:xfrm>
              <a:off x="292608" y="397860"/>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grpSp>
        <p:nvGrpSpPr>
          <p:cNvPr id="1028" name="Group 1027">
            <a:extLst>
              <a:ext uri="{FF2B5EF4-FFF2-40B4-BE49-F238E27FC236}">
                <a16:creationId xmlns:a16="http://schemas.microsoft.com/office/drawing/2014/main" id="{3DD59AF6-2EB5-BBDC-1946-56CB294B3107}"/>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B97B2B1B-BA91-F37A-E742-A01AA6A6DC42}"/>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2980813D-CD81-C5D4-8BD2-291F366C9C8D}"/>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D4E92CE4-9E2D-8959-0803-502A3BE40143}"/>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45A9599C-17B7-D351-6F19-AC0975E58EF8}"/>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66535381-6AAA-A590-D2C9-0F970FA09C0E}"/>
              </a:ext>
            </a:extLst>
          </p:cNvPr>
          <p:cNvSpPr/>
          <p:nvPr/>
        </p:nvSpPr>
        <p:spPr>
          <a:xfrm>
            <a:off x="292608"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47D763D0-6FAD-8EE8-5747-014CE2FE63D1}"/>
              </a:ext>
            </a:extLst>
          </p:cNvPr>
          <p:cNvSpPr/>
          <p:nvPr/>
        </p:nvSpPr>
        <p:spPr>
          <a:xfrm>
            <a:off x="292608" y="8054295"/>
            <a:ext cx="6272784" cy="157128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240151D1-83A6-A968-8252-EFE1718B8892}"/>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2</a:t>
            </a:r>
            <a:endParaRPr lang="en-GB" sz="1200" dirty="0">
              <a:solidFill>
                <a:schemeClr val="bg1"/>
              </a:solidFill>
            </a:endParaRPr>
          </a:p>
        </p:txBody>
      </p:sp>
      <p:sp>
        <p:nvSpPr>
          <p:cNvPr id="1048" name="Rectangle 1047">
            <a:extLst>
              <a:ext uri="{FF2B5EF4-FFF2-40B4-BE49-F238E27FC236}">
                <a16:creationId xmlns:a16="http://schemas.microsoft.com/office/drawing/2014/main" id="{5E3C658C-B662-59DF-3EA8-7451A48DEC92}"/>
              </a:ext>
            </a:extLst>
          </p:cNvPr>
          <p:cNvSpPr/>
          <p:nvPr/>
        </p:nvSpPr>
        <p:spPr>
          <a:xfrm>
            <a:off x="3483000"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CFF97540-2FAA-CB80-9EE6-18FC939AD2A7}"/>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2AA1BD25-3799-3F95-0DE9-9F59A9A36D0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7DE8908D-2D00-1C15-18BA-CBC986C795F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Distribution per sector</a:t>
              </a:r>
              <a:endParaRPr lang="en-GB" sz="1000" b="1" dirty="0">
                <a:solidFill>
                  <a:schemeClr val="bg1"/>
                </a:solidFill>
                <a:latin typeface="Bierstadt"/>
              </a:endParaRPr>
            </a:p>
          </p:txBody>
        </p:sp>
      </p:grpSp>
      <p:grpSp>
        <p:nvGrpSpPr>
          <p:cNvPr id="1117" name="Group 1116">
            <a:extLst>
              <a:ext uri="{FF2B5EF4-FFF2-40B4-BE49-F238E27FC236}">
                <a16:creationId xmlns:a16="http://schemas.microsoft.com/office/drawing/2014/main" id="{B2136F99-9273-3C06-2EAB-3252A341E5A3}"/>
              </a:ext>
            </a:extLst>
          </p:cNvPr>
          <p:cNvGrpSpPr/>
          <p:nvPr/>
        </p:nvGrpSpPr>
        <p:grpSpPr>
          <a:xfrm>
            <a:off x="3483000" y="1013780"/>
            <a:ext cx="3082392" cy="232459"/>
            <a:chOff x="292608" y="1013780"/>
            <a:chExt cx="3082392" cy="232459"/>
          </a:xfrm>
        </p:grpSpPr>
        <p:cxnSp>
          <p:nvCxnSpPr>
            <p:cNvPr id="1118" name="Straight Connector 1117">
              <a:extLst>
                <a:ext uri="{FF2B5EF4-FFF2-40B4-BE49-F238E27FC236}">
                  <a16:creationId xmlns:a16="http://schemas.microsoft.com/office/drawing/2014/main" id="{417D1884-0E28-3C02-8058-8055782D66C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C94E1CCC-1EB6-B73E-CDC7-DAD9477FC9F7}"/>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Distrubution per region</a:t>
              </a:r>
              <a:endParaRPr lang="en-GB" sz="1000" b="1" dirty="0">
                <a:solidFill>
                  <a:schemeClr val="bg1"/>
                </a:solidFill>
                <a:latin typeface="Bierstadt"/>
              </a:endParaRPr>
            </a:p>
          </p:txBody>
        </p:sp>
      </p:grpSp>
      <p:grpSp>
        <p:nvGrpSpPr>
          <p:cNvPr id="4" name="Group 3">
            <a:extLst>
              <a:ext uri="{FF2B5EF4-FFF2-40B4-BE49-F238E27FC236}">
                <a16:creationId xmlns:a16="http://schemas.microsoft.com/office/drawing/2014/main" id="{AB4B8C69-4066-D9CE-BBBE-2CCB91AE5ED8}"/>
              </a:ext>
            </a:extLst>
          </p:cNvPr>
          <p:cNvGrpSpPr/>
          <p:nvPr/>
        </p:nvGrpSpPr>
        <p:grpSpPr>
          <a:xfrm>
            <a:off x="292608" y="8054295"/>
            <a:ext cx="6272784" cy="232459"/>
            <a:chOff x="292608" y="6853356"/>
            <a:chExt cx="6272784" cy="232459"/>
          </a:xfrm>
        </p:grpSpPr>
        <p:sp>
          <p:nvSpPr>
            <p:cNvPr id="2" name="Rectangle 1">
              <a:extLst>
                <a:ext uri="{FF2B5EF4-FFF2-40B4-BE49-F238E27FC236}">
                  <a16:creationId xmlns:a16="http://schemas.microsoft.com/office/drawing/2014/main" id="{C3028533-FFA0-8969-1B38-84E8E0A5D661}"/>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Disclaimer</a:t>
              </a:r>
            </a:p>
          </p:txBody>
        </p:sp>
        <p:cxnSp>
          <p:nvCxnSpPr>
            <p:cNvPr id="3" name="Straight Connector 2">
              <a:extLst>
                <a:ext uri="{FF2B5EF4-FFF2-40B4-BE49-F238E27FC236}">
                  <a16:creationId xmlns:a16="http://schemas.microsoft.com/office/drawing/2014/main" id="{D9F15FCC-4748-D4D1-90AA-0B77FBBD60A4}"/>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099FCF1D-8887-3256-ED6F-1006081DF865}"/>
              </a:ext>
            </a:extLst>
          </p:cNvPr>
          <p:cNvSpPr txBox="1"/>
          <p:nvPr/>
        </p:nvSpPr>
        <p:spPr>
          <a:xfrm>
            <a:off x="292608" y="8286755"/>
            <a:ext cx="6272784" cy="1338828"/>
          </a:xfrm>
          <a:prstGeom prst="rect">
            <a:avLst/>
          </a:prstGeom>
          <a:noFill/>
        </p:spPr>
        <p:txBody>
          <a:bodyPr wrap="square" rtlCol="0">
            <a:spAutoFit/>
          </a:bodyPr>
          <a:lstStyle/>
          <a:p>
            <a:pPr algn="just"/>
            <a:r>
              <a:rPr lang="en-US" sz="900" b="0" i="0" u="none" strike="noStrike" baseline="0" dirty="0">
                <a:solidFill>
                  <a:schemeClr val="bg1"/>
                </a:solidFill>
                <a:latin typeface="Bierstadt" panose="020B0004020202020204" pitchFamily="34" charset="0"/>
                <a:cs typeface="Helvetica" panose="020B0604020202020204" pitchFamily="34" charset="0"/>
              </a:rPr>
              <a:t>This document should not be seen as an offer to purchase any specific product and is not to be construed as advice or guidance in any form whatsoever. Investors are encouraged to obtain independent professional investment and taxation advice before investing with or in any of Kukula’s Asset Management products. Kukula Capital reserves the right to close the portfolio to new investors and reopen certain portfolios</a:t>
            </a:r>
            <a:r>
              <a:rPr lang="en-US" sz="900" dirty="0">
                <a:solidFill>
                  <a:schemeClr val="bg1"/>
                </a:solidFill>
                <a:latin typeface="Bierstadt" panose="020B0004020202020204" pitchFamily="34" charset="0"/>
                <a:cs typeface="Helvetica" panose="020B0604020202020204" pitchFamily="34" charset="0"/>
              </a:rPr>
              <a:t> </a:t>
            </a:r>
            <a:r>
              <a:rPr lang="en-US" sz="900" b="0" i="0" u="none" strike="noStrike" baseline="0" dirty="0">
                <a:solidFill>
                  <a:schemeClr val="bg1"/>
                </a:solidFill>
                <a:latin typeface="Bierstadt" panose="020B0004020202020204" pitchFamily="34" charset="0"/>
                <a:cs typeface="Helvetica" panose="020B0604020202020204" pitchFamily="34" charset="0"/>
              </a:rPr>
              <a:t>from time to time in order to manage them more efficiently. Investments in foreign securities may include additional risks such as potential constraints on liquidity and repatriation </a:t>
            </a:r>
            <a:r>
              <a:rPr lang="en-ZA" sz="900" b="0" i="0" u="none" strike="noStrike" baseline="0" dirty="0">
                <a:solidFill>
                  <a:schemeClr val="bg1"/>
                </a:solidFill>
                <a:latin typeface="Bierstadt" panose="020B0004020202020204" pitchFamily="34" charset="0"/>
                <a:cs typeface="Helvetica" panose="020B0604020202020204" pitchFamily="34" charset="0"/>
              </a:rPr>
              <a:t>of funds, macroeconomic risk, political risk, foreign exchange risk, tax risk, settlement risk as well as potential limitations on the availability of market information. </a:t>
            </a:r>
            <a:r>
              <a:rPr lang="en-US" sz="900" b="0" i="0" u="none" strike="noStrike" baseline="0" dirty="0">
                <a:solidFill>
                  <a:schemeClr val="bg1"/>
                </a:solidFill>
                <a:latin typeface="Bierstadt" panose="020B0004020202020204" pitchFamily="34" charset="0"/>
                <a:cs typeface="Helvetica" panose="020B0604020202020204" pitchFamily="34" charset="0"/>
              </a:rPr>
              <a:t>Past performance is not an indication of future performance. </a:t>
            </a:r>
          </a:p>
          <a:p>
            <a:pPr algn="just"/>
            <a:endParaRPr lang="en-US" sz="900" dirty="0">
              <a:solidFill>
                <a:schemeClr val="bg1"/>
              </a:solidFill>
              <a:latin typeface="Bierstadt" panose="020B0004020202020204" pitchFamily="34" charset="0"/>
              <a:cs typeface="Helvetica" panose="020B0604020202020204" pitchFamily="34" charset="0"/>
            </a:endParaRPr>
          </a:p>
          <a:p>
            <a:pPr algn="just"/>
            <a:r>
              <a:rPr lang="en-US" sz="900" dirty="0">
                <a:solidFill>
                  <a:schemeClr val="bg1"/>
                </a:solidFill>
                <a:latin typeface="Bierstadt" panose="020B0004020202020204" pitchFamily="34" charset="0"/>
                <a:cs typeface="Helvetica" panose="020B0604020202020204" pitchFamily="34" charset="0"/>
              </a:rPr>
              <a:t>Kukula Capital is a Fund Manager regulated by the Securities and Exchange Commission of Zambia </a:t>
            </a:r>
          </a:p>
        </p:txBody>
      </p:sp>
      <p:grpSp>
        <p:nvGrpSpPr>
          <p:cNvPr id="12" name="Group 11">
            <a:extLst>
              <a:ext uri="{FF2B5EF4-FFF2-40B4-BE49-F238E27FC236}">
                <a16:creationId xmlns:a16="http://schemas.microsoft.com/office/drawing/2014/main" id="{EA26CCA3-2673-1AFB-06B3-C4434358EFD0}"/>
              </a:ext>
            </a:extLst>
          </p:cNvPr>
          <p:cNvGrpSpPr/>
          <p:nvPr/>
        </p:nvGrpSpPr>
        <p:grpSpPr>
          <a:xfrm>
            <a:off x="2393997" y="2543287"/>
            <a:ext cx="735748" cy="325575"/>
            <a:chOff x="2387480" y="2325829"/>
            <a:chExt cx="890255" cy="393946"/>
          </a:xfrm>
        </p:grpSpPr>
        <p:sp>
          <p:nvSpPr>
            <p:cNvPr id="10" name="Rectangle 9">
              <a:extLst>
                <a:ext uri="{FF2B5EF4-FFF2-40B4-BE49-F238E27FC236}">
                  <a16:creationId xmlns:a16="http://schemas.microsoft.com/office/drawing/2014/main" id="{2AE094CA-474D-B279-5ED1-A5109E8B9776}"/>
                </a:ext>
              </a:extLst>
            </p:cNvPr>
            <p:cNvSpPr/>
            <p:nvPr/>
          </p:nvSpPr>
          <p:spPr>
            <a:xfrm>
              <a:off x="2387480" y="2549361"/>
              <a:ext cx="890255" cy="170414"/>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echnology</a:t>
              </a:r>
              <a:endParaRPr lang="en-GB" sz="600" dirty="0">
                <a:solidFill>
                  <a:schemeClr val="bg1"/>
                </a:solidFill>
                <a:latin typeface="Bierstadt" panose="020B0004020202020204" pitchFamily="34" charset="0"/>
              </a:endParaRPr>
            </a:p>
          </p:txBody>
        </p:sp>
        <p:pic>
          <p:nvPicPr>
            <p:cNvPr id="11" name="Graphic 10">
              <a:extLst>
                <a:ext uri="{FF2B5EF4-FFF2-40B4-BE49-F238E27FC236}">
                  <a16:creationId xmlns:a16="http://schemas.microsoft.com/office/drawing/2014/main" id="{013EC465-3A3D-5632-C448-047BF928C02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720841" y="2325829"/>
              <a:ext cx="223532" cy="223532"/>
            </a:xfrm>
            <a:prstGeom prst="rect">
              <a:avLst/>
            </a:prstGeom>
          </p:spPr>
        </p:pic>
      </p:grpSp>
      <p:sp>
        <p:nvSpPr>
          <p:cNvPr id="14" name="Rectangle 13">
            <a:extLst>
              <a:ext uri="{FF2B5EF4-FFF2-40B4-BE49-F238E27FC236}">
                <a16:creationId xmlns:a16="http://schemas.microsoft.com/office/drawing/2014/main" id="{C83E3CF8-292A-D39F-1EEA-8C791AEB34B6}"/>
              </a:ext>
            </a:extLst>
          </p:cNvPr>
          <p:cNvSpPr/>
          <p:nvPr/>
        </p:nvSpPr>
        <p:spPr>
          <a:xfrm>
            <a:off x="1008626" y="3476575"/>
            <a:ext cx="80031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staples</a:t>
            </a:r>
            <a:endParaRPr lang="en-GB" sz="600" dirty="0">
              <a:solidFill>
                <a:schemeClr val="bg1"/>
              </a:solidFill>
              <a:latin typeface="Bierstadt" panose="020B0004020202020204" pitchFamily="34" charset="0"/>
            </a:endParaRPr>
          </a:p>
        </p:txBody>
      </p:sp>
      <p:pic>
        <p:nvPicPr>
          <p:cNvPr id="40" name="Graphic 39">
            <a:extLst>
              <a:ext uri="{FF2B5EF4-FFF2-40B4-BE49-F238E27FC236}">
                <a16:creationId xmlns:a16="http://schemas.microsoft.com/office/drawing/2014/main" id="{1A099470-3542-E97C-417C-3C9AA76149FA}"/>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1316417" y="3291837"/>
            <a:ext cx="184737" cy="184737"/>
          </a:xfrm>
          <a:prstGeom prst="rect">
            <a:avLst/>
          </a:prstGeom>
        </p:spPr>
      </p:pic>
      <p:sp>
        <p:nvSpPr>
          <p:cNvPr id="17" name="Rectangle 16">
            <a:extLst>
              <a:ext uri="{FF2B5EF4-FFF2-40B4-BE49-F238E27FC236}">
                <a16:creationId xmlns:a16="http://schemas.microsoft.com/office/drawing/2014/main" id="{72EC8E88-2904-9494-D729-847B8159229B}"/>
              </a:ext>
            </a:extLst>
          </p:cNvPr>
          <p:cNvSpPr/>
          <p:nvPr/>
        </p:nvSpPr>
        <p:spPr>
          <a:xfrm>
            <a:off x="353099" y="270003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Materials</a:t>
            </a:r>
            <a:endParaRPr lang="en-GB" sz="600" dirty="0">
              <a:solidFill>
                <a:schemeClr val="bg1"/>
              </a:solidFill>
              <a:latin typeface="Bierstadt" panose="020B0004020202020204" pitchFamily="34" charset="0"/>
            </a:endParaRPr>
          </a:p>
        </p:txBody>
      </p:sp>
      <p:pic>
        <p:nvPicPr>
          <p:cNvPr id="41" name="Graphic 40">
            <a:extLst>
              <a:ext uri="{FF2B5EF4-FFF2-40B4-BE49-F238E27FC236}">
                <a16:creationId xmlns:a16="http://schemas.microsoft.com/office/drawing/2014/main" id="{39234BC4-F8AD-3BFC-BEA9-9A918A0E608B}"/>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28604" y="2515293"/>
            <a:ext cx="184737" cy="184737"/>
          </a:xfrm>
          <a:prstGeom prst="rect">
            <a:avLst/>
          </a:prstGeom>
        </p:spPr>
      </p:pic>
      <p:grpSp>
        <p:nvGrpSpPr>
          <p:cNvPr id="43" name="Group 42">
            <a:extLst>
              <a:ext uri="{FF2B5EF4-FFF2-40B4-BE49-F238E27FC236}">
                <a16:creationId xmlns:a16="http://schemas.microsoft.com/office/drawing/2014/main" id="{7EF4A4B5-327E-213A-0A92-2A9077E3ECA7}"/>
              </a:ext>
            </a:extLst>
          </p:cNvPr>
          <p:cNvGrpSpPr/>
          <p:nvPr/>
        </p:nvGrpSpPr>
        <p:grpSpPr>
          <a:xfrm>
            <a:off x="314139" y="1934099"/>
            <a:ext cx="735749" cy="325575"/>
            <a:chOff x="405579" y="1934099"/>
            <a:chExt cx="735749" cy="325575"/>
          </a:xfrm>
        </p:grpSpPr>
        <p:sp>
          <p:nvSpPr>
            <p:cNvPr id="20" name="Rectangle 19">
              <a:extLst>
                <a:ext uri="{FF2B5EF4-FFF2-40B4-BE49-F238E27FC236}">
                  <a16:creationId xmlns:a16="http://schemas.microsoft.com/office/drawing/2014/main" id="{C430CF63-0430-AB16-D38F-57BD98609CA3}"/>
                </a:ext>
              </a:extLst>
            </p:cNvPr>
            <p:cNvSpPr/>
            <p:nvPr/>
          </p:nvSpPr>
          <p:spPr>
            <a:xfrm>
              <a:off x="405579" y="2118836"/>
              <a:ext cx="73574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solidFill>
                  <a:latin typeface="Bierstadt" panose="020B0004020202020204" pitchFamily="34" charset="0"/>
                </a:rPr>
                <a:t>Financial services</a:t>
              </a:r>
              <a:endParaRPr lang="en-GB" sz="600" dirty="0">
                <a:solidFill>
                  <a:schemeClr val="bg1"/>
                </a:solidFill>
                <a:latin typeface="Bierstadt" panose="020B0004020202020204" pitchFamily="34" charset="0"/>
              </a:endParaRPr>
            </a:p>
          </p:txBody>
        </p:sp>
        <p:pic>
          <p:nvPicPr>
            <p:cNvPr id="42" name="Graphic 41">
              <a:extLst>
                <a:ext uri="{FF2B5EF4-FFF2-40B4-BE49-F238E27FC236}">
                  <a16:creationId xmlns:a16="http://schemas.microsoft.com/office/drawing/2014/main" id="{0774DE06-6ECB-63EB-ABE7-8520BE1F0C53}"/>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81085" y="1934099"/>
              <a:ext cx="184737" cy="184737"/>
            </a:xfrm>
            <a:prstGeom prst="rect">
              <a:avLst/>
            </a:prstGeom>
          </p:spPr>
        </p:pic>
      </p:grpSp>
      <p:sp>
        <p:nvSpPr>
          <p:cNvPr id="25" name="Rectangle 24">
            <a:extLst>
              <a:ext uri="{FF2B5EF4-FFF2-40B4-BE49-F238E27FC236}">
                <a16:creationId xmlns:a16="http://schemas.microsoft.com/office/drawing/2014/main" id="{220F02E8-61FC-9ABE-2D55-99A17C0C29F7}"/>
              </a:ext>
            </a:extLst>
          </p:cNvPr>
          <p:cNvSpPr/>
          <p:nvPr/>
        </p:nvSpPr>
        <p:spPr>
          <a:xfrm>
            <a:off x="690304" y="1716818"/>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Healthcare</a:t>
            </a:r>
            <a:endParaRPr lang="en-GB" sz="600" dirty="0">
              <a:solidFill>
                <a:schemeClr val="bg1"/>
              </a:solidFill>
              <a:latin typeface="Bierstadt" panose="020B0004020202020204" pitchFamily="34" charset="0"/>
            </a:endParaRPr>
          </a:p>
        </p:txBody>
      </p:sp>
      <p:pic>
        <p:nvPicPr>
          <p:cNvPr id="44" name="Graphic 43">
            <a:extLst>
              <a:ext uri="{FF2B5EF4-FFF2-40B4-BE49-F238E27FC236}">
                <a16:creationId xmlns:a16="http://schemas.microsoft.com/office/drawing/2014/main" id="{C0B4EA05-F62F-5EF7-3AE6-8D70CA2A6DEB}"/>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965809" y="1532081"/>
            <a:ext cx="184737" cy="184737"/>
          </a:xfrm>
          <a:prstGeom prst="rect">
            <a:avLst/>
          </a:prstGeom>
        </p:spPr>
      </p:pic>
      <p:sp>
        <p:nvSpPr>
          <p:cNvPr id="29" name="Rectangle 28">
            <a:extLst>
              <a:ext uri="{FF2B5EF4-FFF2-40B4-BE49-F238E27FC236}">
                <a16:creationId xmlns:a16="http://schemas.microsoft.com/office/drawing/2014/main" id="{E66AF298-75C9-C2BC-ED2A-4C925FD60E1A}"/>
              </a:ext>
            </a:extLst>
          </p:cNvPr>
          <p:cNvSpPr/>
          <p:nvPr/>
        </p:nvSpPr>
        <p:spPr>
          <a:xfrm>
            <a:off x="1040913" y="150957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Utilities</a:t>
            </a:r>
            <a:endParaRPr lang="en-GB" sz="600" dirty="0">
              <a:solidFill>
                <a:schemeClr val="bg1"/>
              </a:solidFill>
              <a:latin typeface="Bierstadt" panose="020B0004020202020204" pitchFamily="34" charset="0"/>
            </a:endParaRPr>
          </a:p>
        </p:txBody>
      </p:sp>
      <p:pic>
        <p:nvPicPr>
          <p:cNvPr id="46" name="Graphic 45">
            <a:extLst>
              <a:ext uri="{FF2B5EF4-FFF2-40B4-BE49-F238E27FC236}">
                <a16:creationId xmlns:a16="http://schemas.microsoft.com/office/drawing/2014/main" id="{4203E42F-EE76-D8C5-2ADD-589AA92D7668}"/>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1316418" y="1324842"/>
            <a:ext cx="184737" cy="184737"/>
          </a:xfrm>
          <a:prstGeom prst="rect">
            <a:avLst/>
          </a:prstGeom>
        </p:spPr>
      </p:pic>
      <p:sp>
        <p:nvSpPr>
          <p:cNvPr id="32" name="Rectangle 31">
            <a:extLst>
              <a:ext uri="{FF2B5EF4-FFF2-40B4-BE49-F238E27FC236}">
                <a16:creationId xmlns:a16="http://schemas.microsoft.com/office/drawing/2014/main" id="{C8B6BF94-46A7-2023-C325-E3D166F5E203}"/>
              </a:ext>
            </a:extLst>
          </p:cNvPr>
          <p:cNvSpPr/>
          <p:nvPr/>
        </p:nvSpPr>
        <p:spPr>
          <a:xfrm>
            <a:off x="1444517" y="147750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47" name="Graphic 46">
            <a:extLst>
              <a:ext uri="{FF2B5EF4-FFF2-40B4-BE49-F238E27FC236}">
                <a16:creationId xmlns:a16="http://schemas.microsoft.com/office/drawing/2014/main" id="{B7CB9195-F8E2-043A-D295-449E46E3EBB9}"/>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1720022" y="1292772"/>
            <a:ext cx="184737" cy="184737"/>
          </a:xfrm>
          <a:prstGeom prst="rect">
            <a:avLst/>
          </a:prstGeom>
        </p:spPr>
      </p:pic>
      <p:sp>
        <p:nvSpPr>
          <p:cNvPr id="35" name="Rectangle 34">
            <a:extLst>
              <a:ext uri="{FF2B5EF4-FFF2-40B4-BE49-F238E27FC236}">
                <a16:creationId xmlns:a16="http://schemas.microsoft.com/office/drawing/2014/main" id="{419AAB4D-B941-7415-902C-E1485893A00D}"/>
              </a:ext>
            </a:extLst>
          </p:cNvPr>
          <p:cNvSpPr/>
          <p:nvPr/>
        </p:nvSpPr>
        <p:spPr>
          <a:xfrm>
            <a:off x="1841231" y="155027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ransportation</a:t>
            </a:r>
            <a:endParaRPr lang="en-GB" sz="600" dirty="0">
              <a:solidFill>
                <a:schemeClr val="bg1"/>
              </a:solidFill>
              <a:latin typeface="Bierstadt" panose="020B0004020202020204" pitchFamily="34" charset="0"/>
            </a:endParaRPr>
          </a:p>
        </p:txBody>
      </p:sp>
      <p:pic>
        <p:nvPicPr>
          <p:cNvPr id="48" name="Graphic 47">
            <a:extLst>
              <a:ext uri="{FF2B5EF4-FFF2-40B4-BE49-F238E27FC236}">
                <a16:creationId xmlns:a16="http://schemas.microsoft.com/office/drawing/2014/main" id="{BDAFF7B7-207D-4703-3CE0-069C0B3A5B25}"/>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a:off x="2116736" y="1365533"/>
            <a:ext cx="184737" cy="184737"/>
          </a:xfrm>
          <a:prstGeom prst="rect">
            <a:avLst/>
          </a:prstGeom>
        </p:spPr>
      </p:pic>
      <p:sp>
        <p:nvSpPr>
          <p:cNvPr id="38" name="Rectangle 37">
            <a:extLst>
              <a:ext uri="{FF2B5EF4-FFF2-40B4-BE49-F238E27FC236}">
                <a16:creationId xmlns:a16="http://schemas.microsoft.com/office/drawing/2014/main" id="{EA112802-2A42-169C-131E-DBF1F5A1882B}"/>
              </a:ext>
            </a:extLst>
          </p:cNvPr>
          <p:cNvSpPr/>
          <p:nvPr/>
        </p:nvSpPr>
        <p:spPr>
          <a:xfrm>
            <a:off x="2242320" y="1750827"/>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discretionary</a:t>
            </a:r>
            <a:endParaRPr lang="en-GB" sz="600" dirty="0">
              <a:solidFill>
                <a:schemeClr val="bg1"/>
              </a:solidFill>
              <a:latin typeface="Bierstadt" panose="020B0004020202020204" pitchFamily="34" charset="0"/>
            </a:endParaRPr>
          </a:p>
        </p:txBody>
      </p:sp>
      <p:pic>
        <p:nvPicPr>
          <p:cNvPr id="49" name="Graphic 48">
            <a:extLst>
              <a:ext uri="{FF2B5EF4-FFF2-40B4-BE49-F238E27FC236}">
                <a16:creationId xmlns:a16="http://schemas.microsoft.com/office/drawing/2014/main" id="{A8E15041-4912-B3D8-0150-F4D6E30D422C}"/>
              </a:ext>
            </a:extLst>
          </p:cNvPr>
          <p:cNvPicPr>
            <a:picLocks/>
          </p:cNvPicPr>
          <p:nvPr/>
        </p:nvPicPr>
        <p:blipFill>
          <a:blip r:embed="rId30">
            <a:extLst>
              <a:ext uri="{96DAC541-7B7A-43D3-8B79-37D633B846F1}">
                <asvg:svgBlip xmlns:asvg="http://schemas.microsoft.com/office/drawing/2016/SVG/main" r:embed="rId31"/>
              </a:ext>
            </a:extLst>
          </a:blip>
          <a:stretch>
            <a:fillRect/>
          </a:stretch>
        </p:blipFill>
        <p:spPr>
          <a:xfrm>
            <a:off x="2517825" y="1550850"/>
            <a:ext cx="184737" cy="184737"/>
          </a:xfrm>
          <a:prstGeom prst="rect">
            <a:avLst/>
          </a:prstGeom>
        </p:spPr>
      </p:pic>
      <p:sp>
        <p:nvSpPr>
          <p:cNvPr id="55" name="Rectangle 54">
            <a:extLst>
              <a:ext uri="{FF2B5EF4-FFF2-40B4-BE49-F238E27FC236}">
                <a16:creationId xmlns:a16="http://schemas.microsoft.com/office/drawing/2014/main" id="{740F6A28-57EB-1294-4ACF-DC51AE132108}"/>
              </a:ext>
            </a:extLst>
          </p:cNvPr>
          <p:cNvSpPr/>
          <p:nvPr/>
        </p:nvSpPr>
        <p:spPr>
          <a:xfrm>
            <a:off x="5073650" y="1661181"/>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Europe</a:t>
            </a:r>
            <a:endParaRPr lang="en-GB" sz="600" dirty="0">
              <a:solidFill>
                <a:schemeClr val="bg1"/>
              </a:solidFill>
              <a:latin typeface="Bierstadt" panose="020B0004020202020204" pitchFamily="34" charset="0"/>
            </a:endParaRPr>
          </a:p>
        </p:txBody>
      </p:sp>
      <p:pic>
        <p:nvPicPr>
          <p:cNvPr id="57" name="Graphic 56">
            <a:extLst>
              <a:ext uri="{FF2B5EF4-FFF2-40B4-BE49-F238E27FC236}">
                <a16:creationId xmlns:a16="http://schemas.microsoft.com/office/drawing/2014/main" id="{FDDA8EE5-2B07-55E1-BF0F-20D8DDAFFA87}"/>
              </a:ext>
            </a:extLst>
          </p:cNvPr>
          <p:cNvPicPr>
            <a:picLocks/>
          </p:cNvPicPr>
          <p:nvPr/>
        </p:nvPicPr>
        <p:blipFill>
          <a:blip r:embed="rId32">
            <a:extLst>
              <a:ext uri="{96DAC541-7B7A-43D3-8B79-37D633B846F1}">
                <asvg:svgBlip xmlns:asvg="http://schemas.microsoft.com/office/drawing/2016/SVG/main" r:embed="rId33"/>
              </a:ext>
            </a:extLst>
          </a:blip>
          <a:stretch>
            <a:fillRect/>
          </a:stretch>
        </p:blipFill>
        <p:spPr>
          <a:xfrm>
            <a:off x="5349154" y="1476444"/>
            <a:ext cx="184737" cy="184737"/>
          </a:xfrm>
          <a:prstGeom prst="rect">
            <a:avLst/>
          </a:prstGeom>
        </p:spPr>
      </p:pic>
      <p:grpSp>
        <p:nvGrpSpPr>
          <p:cNvPr id="1030" name="Group 1029">
            <a:extLst>
              <a:ext uri="{FF2B5EF4-FFF2-40B4-BE49-F238E27FC236}">
                <a16:creationId xmlns:a16="http://schemas.microsoft.com/office/drawing/2014/main" id="{A8340488-64B7-353C-A4FA-EB2260E5A373}"/>
              </a:ext>
            </a:extLst>
          </p:cNvPr>
          <p:cNvGrpSpPr/>
          <p:nvPr/>
        </p:nvGrpSpPr>
        <p:grpSpPr>
          <a:xfrm>
            <a:off x="5358370" y="3243826"/>
            <a:ext cx="735748" cy="325575"/>
            <a:chOff x="5358370" y="3243826"/>
            <a:chExt cx="735748" cy="325575"/>
          </a:xfrm>
        </p:grpSpPr>
        <p:sp>
          <p:nvSpPr>
            <p:cNvPr id="63" name="Rectangle 62">
              <a:extLst>
                <a:ext uri="{FF2B5EF4-FFF2-40B4-BE49-F238E27FC236}">
                  <a16:creationId xmlns:a16="http://schemas.microsoft.com/office/drawing/2014/main" id="{D482A90D-6D02-1D17-FA7C-5DE0F2E90558}"/>
                </a:ext>
              </a:extLst>
            </p:cNvPr>
            <p:cNvSpPr/>
            <p:nvPr/>
          </p:nvSpPr>
          <p:spPr>
            <a:xfrm>
              <a:off x="5358370" y="3428563"/>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North America</a:t>
              </a:r>
              <a:endParaRPr lang="en-GB" sz="600" dirty="0">
                <a:solidFill>
                  <a:schemeClr val="bg1"/>
                </a:solidFill>
                <a:latin typeface="Bierstadt" panose="020B0004020202020204" pitchFamily="34" charset="0"/>
              </a:endParaRPr>
            </a:p>
          </p:txBody>
        </p:sp>
        <p:pic>
          <p:nvPicPr>
            <p:cNvPr id="1029" name="Graphic 1028">
              <a:extLst>
                <a:ext uri="{FF2B5EF4-FFF2-40B4-BE49-F238E27FC236}">
                  <a16:creationId xmlns:a16="http://schemas.microsoft.com/office/drawing/2014/main" id="{E2B42250-64A3-D359-636C-59A0C70156BE}"/>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633874" y="3243826"/>
              <a:ext cx="184737" cy="184737"/>
            </a:xfrm>
            <a:prstGeom prst="rect">
              <a:avLst/>
            </a:prstGeom>
          </p:spPr>
        </p:pic>
      </p:grpSp>
      <p:grpSp>
        <p:nvGrpSpPr>
          <p:cNvPr id="1052" name="Group 1051">
            <a:extLst>
              <a:ext uri="{FF2B5EF4-FFF2-40B4-BE49-F238E27FC236}">
                <a16:creationId xmlns:a16="http://schemas.microsoft.com/office/drawing/2014/main" id="{78763AB0-C349-B79C-A03F-AB6515B09F9E}"/>
              </a:ext>
            </a:extLst>
          </p:cNvPr>
          <p:cNvGrpSpPr/>
          <p:nvPr/>
        </p:nvGrpSpPr>
        <p:grpSpPr>
          <a:xfrm>
            <a:off x="3849920" y="1676988"/>
            <a:ext cx="735748" cy="325575"/>
            <a:chOff x="3849920" y="1676988"/>
            <a:chExt cx="735748" cy="325575"/>
          </a:xfrm>
        </p:grpSpPr>
        <p:sp>
          <p:nvSpPr>
            <p:cNvPr id="1040" name="Rectangle 1039">
              <a:extLst>
                <a:ext uri="{FF2B5EF4-FFF2-40B4-BE49-F238E27FC236}">
                  <a16:creationId xmlns:a16="http://schemas.microsoft.com/office/drawing/2014/main" id="{8140B58C-FFE8-09D7-3025-F54F241DEC50}"/>
                </a:ext>
              </a:extLst>
            </p:cNvPr>
            <p:cNvSpPr/>
            <p:nvPr/>
          </p:nvSpPr>
          <p:spPr>
            <a:xfrm>
              <a:off x="3849920" y="186172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frica</a:t>
              </a:r>
              <a:endParaRPr lang="en-GB" sz="600" dirty="0">
                <a:solidFill>
                  <a:schemeClr val="bg1"/>
                </a:solidFill>
                <a:latin typeface="Bierstadt" panose="020B0004020202020204" pitchFamily="34" charset="0"/>
              </a:endParaRPr>
            </a:p>
          </p:txBody>
        </p:sp>
        <p:pic>
          <p:nvPicPr>
            <p:cNvPr id="1047" name="Graphic 1046">
              <a:extLst>
                <a:ext uri="{FF2B5EF4-FFF2-40B4-BE49-F238E27FC236}">
                  <a16:creationId xmlns:a16="http://schemas.microsoft.com/office/drawing/2014/main" id="{E6C27167-7703-52AC-C12E-EF8DF5777C68}"/>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4125424" y="1676988"/>
              <a:ext cx="184737" cy="184737"/>
            </a:xfrm>
            <a:prstGeom prst="rect">
              <a:avLst/>
            </a:prstGeom>
          </p:spPr>
        </p:pic>
      </p:grpSp>
      <p:sp>
        <p:nvSpPr>
          <p:cNvPr id="1054" name="Rectangle 1053">
            <a:extLst>
              <a:ext uri="{FF2B5EF4-FFF2-40B4-BE49-F238E27FC236}">
                <a16:creationId xmlns:a16="http://schemas.microsoft.com/office/drawing/2014/main" id="{E670BFE6-5EAD-AD52-40EE-C97CB4030485}"/>
              </a:ext>
            </a:extLst>
          </p:cNvPr>
          <p:cNvSpPr/>
          <p:nvPr/>
        </p:nvSpPr>
        <p:spPr>
          <a:xfrm>
            <a:off x="4246187" y="163211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sia</a:t>
            </a:r>
            <a:endParaRPr lang="en-GB" sz="600" dirty="0">
              <a:solidFill>
                <a:schemeClr val="bg1"/>
              </a:solidFill>
              <a:latin typeface="Bierstadt" panose="020B0004020202020204" pitchFamily="34" charset="0"/>
            </a:endParaRPr>
          </a:p>
        </p:txBody>
      </p:sp>
      <p:pic>
        <p:nvPicPr>
          <p:cNvPr id="1056" name="Graphic 1055">
            <a:extLst>
              <a:ext uri="{FF2B5EF4-FFF2-40B4-BE49-F238E27FC236}">
                <a16:creationId xmlns:a16="http://schemas.microsoft.com/office/drawing/2014/main" id="{C5A91157-E375-7D55-19B6-5C6117A61521}"/>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4521691" y="1447378"/>
            <a:ext cx="184737" cy="184737"/>
          </a:xfrm>
          <a:prstGeom prst="rect">
            <a:avLst/>
          </a:prstGeom>
        </p:spPr>
      </p:pic>
      <p:grpSp>
        <p:nvGrpSpPr>
          <p:cNvPr id="1060" name="Group 1059">
            <a:extLst>
              <a:ext uri="{FF2B5EF4-FFF2-40B4-BE49-F238E27FC236}">
                <a16:creationId xmlns:a16="http://schemas.microsoft.com/office/drawing/2014/main" id="{31DEC152-21BC-7FC7-95A1-E0E2AEA6116E}"/>
              </a:ext>
            </a:extLst>
          </p:cNvPr>
          <p:cNvGrpSpPr/>
          <p:nvPr/>
        </p:nvGrpSpPr>
        <p:grpSpPr>
          <a:xfrm>
            <a:off x="4625791" y="1431219"/>
            <a:ext cx="735748" cy="325575"/>
            <a:chOff x="4677380" y="1385489"/>
            <a:chExt cx="735748" cy="325575"/>
          </a:xfrm>
        </p:grpSpPr>
        <p:sp>
          <p:nvSpPr>
            <p:cNvPr id="1058" name="Rectangle 1057">
              <a:extLst>
                <a:ext uri="{FF2B5EF4-FFF2-40B4-BE49-F238E27FC236}">
                  <a16:creationId xmlns:a16="http://schemas.microsoft.com/office/drawing/2014/main" id="{02792C57-F4BB-6B65-0A94-5602A2656D53}"/>
                </a:ext>
              </a:extLst>
            </p:cNvPr>
            <p:cNvSpPr/>
            <p:nvPr/>
          </p:nvSpPr>
          <p:spPr>
            <a:xfrm>
              <a:off x="4677380" y="1570226"/>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1057" name="Graphic 1056">
              <a:extLst>
                <a:ext uri="{FF2B5EF4-FFF2-40B4-BE49-F238E27FC236}">
                  <a16:creationId xmlns:a16="http://schemas.microsoft.com/office/drawing/2014/main" id="{1C0A7E55-3B59-5424-BAE3-4C1FBA0A7141}"/>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4952884" y="1385489"/>
              <a:ext cx="184737" cy="184737"/>
            </a:xfrm>
            <a:prstGeom prst="rect">
              <a:avLst/>
            </a:prstGeom>
          </p:spPr>
        </p:pic>
      </p:grpSp>
      <p:grpSp>
        <p:nvGrpSpPr>
          <p:cNvPr id="1061" name="Group 1060">
            <a:extLst>
              <a:ext uri="{FF2B5EF4-FFF2-40B4-BE49-F238E27FC236}">
                <a16:creationId xmlns:a16="http://schemas.microsoft.com/office/drawing/2014/main" id="{A6015B47-B30C-5FD6-A378-0F254AC0BA3C}"/>
              </a:ext>
            </a:extLst>
          </p:cNvPr>
          <p:cNvGrpSpPr/>
          <p:nvPr/>
        </p:nvGrpSpPr>
        <p:grpSpPr>
          <a:xfrm>
            <a:off x="292608" y="3645819"/>
            <a:ext cx="3082392" cy="232459"/>
            <a:chOff x="292608" y="1013780"/>
            <a:chExt cx="3082392" cy="232459"/>
          </a:xfrm>
        </p:grpSpPr>
        <p:cxnSp>
          <p:nvCxnSpPr>
            <p:cNvPr id="1062" name="Straight Connector 1061">
              <a:extLst>
                <a:ext uri="{FF2B5EF4-FFF2-40B4-BE49-F238E27FC236}">
                  <a16:creationId xmlns:a16="http://schemas.microsoft.com/office/drawing/2014/main" id="{E9CCCF08-08C8-EE98-C7A9-80C44E445D6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6" name="COMMENTARY_HEADER">
              <a:extLst>
                <a:ext uri="{FF2B5EF4-FFF2-40B4-BE49-F238E27FC236}">
                  <a16:creationId xmlns:a16="http://schemas.microsoft.com/office/drawing/2014/main" id="{91E72E01-23BD-F919-ED88-608D6E5189CB}"/>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Manager’s commentary and outlook</a:t>
              </a:r>
              <a:endParaRPr lang="en-GB" sz="1000" b="1" dirty="0">
                <a:solidFill>
                  <a:schemeClr val="bg1"/>
                </a:solidFill>
                <a:latin typeface="Bierstadt"/>
              </a:endParaRPr>
            </a:p>
          </p:txBody>
        </p:sp>
      </p:grpSp>
      <p:grpSp>
        <p:nvGrpSpPr>
          <p:cNvPr id="1077" name="Group 1076">
            <a:extLst>
              <a:ext uri="{FF2B5EF4-FFF2-40B4-BE49-F238E27FC236}">
                <a16:creationId xmlns:a16="http://schemas.microsoft.com/office/drawing/2014/main" id="{63B74288-F5DE-C540-D92A-62BFE1FE6B0E}"/>
              </a:ext>
            </a:extLst>
          </p:cNvPr>
          <p:cNvGrpSpPr/>
          <p:nvPr/>
        </p:nvGrpSpPr>
        <p:grpSpPr>
          <a:xfrm>
            <a:off x="3483000" y="3645819"/>
            <a:ext cx="3082392" cy="232459"/>
            <a:chOff x="292608" y="1013780"/>
            <a:chExt cx="3082392" cy="232459"/>
          </a:xfrm>
        </p:grpSpPr>
        <p:cxnSp>
          <p:nvCxnSpPr>
            <p:cNvPr id="1078" name="Straight Connector 1077">
              <a:extLst>
                <a:ext uri="{FF2B5EF4-FFF2-40B4-BE49-F238E27FC236}">
                  <a16:creationId xmlns:a16="http://schemas.microsoft.com/office/drawing/2014/main" id="{36B6E2A3-6B9B-7AEB-B920-3CE8677854C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9" name="Rectangle 1078">
              <a:extLst>
                <a:ext uri="{FF2B5EF4-FFF2-40B4-BE49-F238E27FC236}">
                  <a16:creationId xmlns:a16="http://schemas.microsoft.com/office/drawing/2014/main" id="{AD98B1AA-B101-E926-80DD-6DFD60DE89D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Fee details</a:t>
              </a:r>
              <a:endParaRPr lang="en-GB" sz="1000" b="1" dirty="0">
                <a:solidFill>
                  <a:schemeClr val="bg1"/>
                </a:solidFill>
                <a:latin typeface="Bierstadt"/>
              </a:endParaRPr>
            </a:p>
          </p:txBody>
        </p:sp>
      </p:grpSp>
      <p:sp>
        <p:nvSpPr>
          <p:cNvPr id="1080" name="COMMENTARY_TEXT">
            <a:extLst>
              <a:ext uri="{FF2B5EF4-FFF2-40B4-BE49-F238E27FC236}">
                <a16:creationId xmlns:a16="http://schemas.microsoft.com/office/drawing/2014/main" id="{323259A2-7335-3BC8-826B-B1452ECF431C}"/>
              </a:ext>
            </a:extLst>
          </p:cNvPr>
          <p:cNvSpPr txBox="1"/>
          <p:nvPr/>
        </p:nvSpPr>
        <p:spPr>
          <a:xfrm>
            <a:off x="292607" y="3878278"/>
            <a:ext cx="3082392" cy="327960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Commentary generation disabled: OPENAI_API_KEY not set.</a:t>
            </a:r>
          </a:p>
        </p:txBody>
      </p:sp>
      <p:grpSp>
        <p:nvGrpSpPr>
          <p:cNvPr id="1082" name="Group 1081">
            <a:extLst>
              <a:ext uri="{FF2B5EF4-FFF2-40B4-BE49-F238E27FC236}">
                <a16:creationId xmlns:a16="http://schemas.microsoft.com/office/drawing/2014/main" id="{16F62F2C-8EDD-7F9A-6CCB-82CC6BC3FC03}"/>
              </a:ext>
            </a:extLst>
          </p:cNvPr>
          <p:cNvGrpSpPr/>
          <p:nvPr/>
        </p:nvGrpSpPr>
        <p:grpSpPr>
          <a:xfrm>
            <a:off x="292608" y="7156098"/>
            <a:ext cx="3082392" cy="232459"/>
            <a:chOff x="292608" y="1013780"/>
            <a:chExt cx="3082392" cy="232459"/>
          </a:xfrm>
        </p:grpSpPr>
        <p:cxnSp>
          <p:nvCxnSpPr>
            <p:cNvPr id="1083" name="Straight Connector 1082">
              <a:extLst>
                <a:ext uri="{FF2B5EF4-FFF2-40B4-BE49-F238E27FC236}">
                  <a16:creationId xmlns:a16="http://schemas.microsoft.com/office/drawing/2014/main" id="{60BE3819-D082-A639-351A-65CA062DC3D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4" name="Rectangle 1083">
              <a:extLst>
                <a:ext uri="{FF2B5EF4-FFF2-40B4-BE49-F238E27FC236}">
                  <a16:creationId xmlns:a16="http://schemas.microsoft.com/office/drawing/2014/main" id="{E4D9E261-3588-EE68-8686-D487FFF50BF8}"/>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Investment platform</a:t>
              </a:r>
              <a:endParaRPr lang="en-GB" sz="1000" b="1" dirty="0">
                <a:solidFill>
                  <a:schemeClr val="bg1"/>
                </a:solidFill>
                <a:latin typeface="Bierstadt"/>
              </a:endParaRPr>
            </a:p>
          </p:txBody>
        </p:sp>
      </p:grpSp>
      <p:sp>
        <p:nvSpPr>
          <p:cNvPr id="1085" name="TextBox 1084">
            <a:extLst>
              <a:ext uri="{FF2B5EF4-FFF2-40B4-BE49-F238E27FC236}">
                <a16:creationId xmlns:a16="http://schemas.microsoft.com/office/drawing/2014/main" id="{7C2F41DD-E337-96EE-5548-96B24121BCEB}"/>
              </a:ext>
            </a:extLst>
          </p:cNvPr>
          <p:cNvSpPr txBox="1"/>
          <p:nvPr/>
        </p:nvSpPr>
        <p:spPr>
          <a:xfrm>
            <a:off x="292607" y="7388557"/>
            <a:ext cx="3082392" cy="507831"/>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Kukula uses the Saxo Bank/DMA platform. Investors are responsible for the associated platform fees and transaction costs. </a:t>
            </a:r>
          </a:p>
        </p:txBody>
      </p:sp>
      <p:grpSp>
        <p:nvGrpSpPr>
          <p:cNvPr id="1089" name="Group 1088">
            <a:extLst>
              <a:ext uri="{FF2B5EF4-FFF2-40B4-BE49-F238E27FC236}">
                <a16:creationId xmlns:a16="http://schemas.microsoft.com/office/drawing/2014/main" id="{7B8D818A-58BD-DE81-8D77-CDBA489AFA18}"/>
              </a:ext>
            </a:extLst>
          </p:cNvPr>
          <p:cNvGrpSpPr/>
          <p:nvPr/>
        </p:nvGrpSpPr>
        <p:grpSpPr>
          <a:xfrm>
            <a:off x="1794357" y="7746171"/>
            <a:ext cx="747129" cy="128203"/>
            <a:chOff x="1611477" y="7746171"/>
            <a:chExt cx="747129" cy="128203"/>
          </a:xfrm>
        </p:grpSpPr>
        <p:pic>
          <p:nvPicPr>
            <p:cNvPr id="1086" name="Picture 1085">
              <a:extLst>
                <a:ext uri="{FF2B5EF4-FFF2-40B4-BE49-F238E27FC236}">
                  <a16:creationId xmlns:a16="http://schemas.microsoft.com/office/drawing/2014/main" id="{D7283381-87BF-61DF-DFA2-2DCC78B785C3}"/>
                </a:ext>
              </a:extLst>
            </p:cNvPr>
            <p:cNvPicPr>
              <a:picLocks noChangeAspect="1"/>
            </p:cNvPicPr>
            <p:nvPr/>
          </p:nvPicPr>
          <p:blipFill>
            <a:blip r:embed="rId42">
              <a:extLst>
                <a:ext uri="{BEBA8EAE-BF5A-486C-A8C5-ECC9F3942E4B}">
                  <a14:imgProps xmlns:a14="http://schemas.microsoft.com/office/drawing/2010/main">
                    <a14:imgLayer r:embed="rId43">
                      <a14:imgEffect>
                        <a14:brightnessContrast bright="100000"/>
                      </a14:imgEffect>
                    </a14:imgLayer>
                  </a14:imgProps>
                </a:ext>
              </a:extLst>
            </a:blip>
            <a:stretch>
              <a:fillRect/>
            </a:stretch>
          </p:blipFill>
          <p:spPr>
            <a:xfrm>
              <a:off x="1611477" y="7746171"/>
              <a:ext cx="295284" cy="128203"/>
            </a:xfrm>
            <a:prstGeom prst="rect">
              <a:avLst/>
            </a:prstGeom>
          </p:spPr>
        </p:pic>
        <p:pic>
          <p:nvPicPr>
            <p:cNvPr id="1088" name="Picture 1087">
              <a:extLst>
                <a:ext uri="{FF2B5EF4-FFF2-40B4-BE49-F238E27FC236}">
                  <a16:creationId xmlns:a16="http://schemas.microsoft.com/office/drawing/2014/main" id="{1BBAF1CB-2454-4A7B-FC9F-F748A4F143F1}"/>
                </a:ext>
              </a:extLst>
            </p:cNvPr>
            <p:cNvPicPr>
              <a:picLocks noChangeAspect="1"/>
            </p:cNvPicPr>
            <p:nvPr/>
          </p:nvPicPr>
          <p:blipFill>
            <a:blip r:embed="rId44">
              <a:extLst>
                <a:ext uri="{BEBA8EAE-BF5A-486C-A8C5-ECC9F3942E4B}">
                  <a14:imgProps xmlns:a14="http://schemas.microsoft.com/office/drawing/2010/main">
                    <a14:imgLayer r:embed="rId45">
                      <a14:imgEffect>
                        <a14:brightnessContrast bright="100000"/>
                      </a14:imgEffect>
                    </a14:imgLayer>
                  </a14:imgProps>
                </a:ext>
              </a:extLst>
            </a:blip>
            <a:stretch>
              <a:fillRect/>
            </a:stretch>
          </p:blipFill>
          <p:spPr>
            <a:xfrm>
              <a:off x="2002893" y="7758968"/>
              <a:ext cx="355713" cy="102609"/>
            </a:xfrm>
            <a:prstGeom prst="rect">
              <a:avLst/>
            </a:prstGeom>
          </p:spPr>
        </p:pic>
      </p:grpSp>
      <p:sp>
        <p:nvSpPr>
          <p:cNvPr id="1090" name="TextBox 1089">
            <a:extLst>
              <a:ext uri="{FF2B5EF4-FFF2-40B4-BE49-F238E27FC236}">
                <a16:creationId xmlns:a16="http://schemas.microsoft.com/office/drawing/2014/main" id="{C10D8FCD-A37B-DDE8-B950-D8BD61E35EED}"/>
              </a:ext>
            </a:extLst>
          </p:cNvPr>
          <p:cNvSpPr txBox="1"/>
          <p:nvPr/>
        </p:nvSpPr>
        <p:spPr>
          <a:xfrm>
            <a:off x="3483000" y="3878278"/>
            <a:ext cx="3082392" cy="369332"/>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Portfolios are  managed on a discretionary basis and are subject to the following fees: </a:t>
            </a:r>
          </a:p>
        </p:txBody>
      </p:sp>
      <p:graphicFrame>
        <p:nvGraphicFramePr>
          <p:cNvPr id="1092" name="FEES_TABLE">
            <a:extLst>
              <a:ext uri="{FF2B5EF4-FFF2-40B4-BE49-F238E27FC236}">
                <a16:creationId xmlns:a16="http://schemas.microsoft.com/office/drawing/2014/main" id="{D1274BE3-4EFF-76CA-8ED5-C8EF8E1C3B53}"/>
              </a:ext>
            </a:extLst>
          </p:cNvPr>
          <p:cNvGraphicFramePr>
            <a:graphicFrameLocks noGrp="1"/>
          </p:cNvGraphicFramePr>
          <p:nvPr>
            <p:extLst>
              <p:ext uri="{D42A27DB-BD31-4B8C-83A1-F6EECF244321}">
                <p14:modId xmlns:p14="http://schemas.microsoft.com/office/powerpoint/2010/main" val="3458982352"/>
              </p:ext>
            </p:extLst>
          </p:nvPr>
        </p:nvGraphicFramePr>
        <p:xfrm>
          <a:off x="3483000" y="4282627"/>
          <a:ext cx="3082392" cy="1188720"/>
        </p:xfrm>
        <a:graphic>
          <a:graphicData uri="http://schemas.openxmlformats.org/drawingml/2006/table">
            <a:tbl>
              <a:tblPr firstRow="1" bandRow="1">
                <a:tableStyleId>{2D5ABB26-0587-4C30-8999-92F81FD0307C}</a:tableStyleId>
              </a:tblPr>
              <a:tblGrid>
                <a:gridCol w="2100103">
                  <a:extLst>
                    <a:ext uri="{9D8B030D-6E8A-4147-A177-3AD203B41FA5}">
                      <a16:colId xmlns:a16="http://schemas.microsoft.com/office/drawing/2014/main" val="787351053"/>
                    </a:ext>
                  </a:extLst>
                </a:gridCol>
                <a:gridCol w="982289">
                  <a:extLst>
                    <a:ext uri="{9D8B030D-6E8A-4147-A177-3AD203B41FA5}">
                      <a16:colId xmlns:a16="http://schemas.microsoft.com/office/drawing/2014/main" val="2002166547"/>
                    </a:ext>
                  </a:extLst>
                </a:gridCol>
              </a:tblGrid>
              <a:tr h="274320">
                <a:tc>
                  <a:txBody>
                    <a:bodyPr/>
                    <a:lstStyle/>
                    <a:p>
                      <a:r>
                        <a:rPr lang="en-US" sz="900" dirty="0">
                          <a:solidFill>
                            <a:schemeClr val="bg1"/>
                          </a:solidFill>
                        </a:rPr>
                        <a:t>Item</a:t>
                      </a:r>
                      <a:endParaRPr lang="en-GB" sz="900" dirty="0">
                        <a:solidFill>
                          <a:schemeClr val="bg1"/>
                        </a:solidFill>
                      </a:endParaRPr>
                    </a:p>
                  </a:txBody>
                  <a:tcPr/>
                </a:tc>
                <a:tc>
                  <a:txBody>
                    <a:bodyPr/>
                    <a:lstStyle/>
                    <a:p>
                      <a:pPr algn="ctr"/>
                      <a:r>
                        <a:rPr lang="en-GB" sz="900" dirty="0">
                          <a:solidFill>
                            <a:schemeClr val="bg1"/>
                          </a:solidFill>
                        </a:rPr>
                        <a:t>Value</a:t>
                      </a:r>
                    </a:p>
                  </a:txBody>
                  <a:tcPr/>
                </a:tc>
                <a:extLst>
                  <a:ext uri="{0D108BD9-81ED-4DB2-BD59-A6C34878D82A}">
                    <a16:rowId xmlns:a16="http://schemas.microsoft.com/office/drawing/2014/main" val="1221449719"/>
                  </a:ext>
                </a:extLst>
              </a:tr>
              <a:tr h="274320">
                <a:tc>
                  <a:txBody>
                    <a:bodyPr/>
                    <a:lstStyle/>
                    <a:p>
                      <a:r>
                        <a:rPr lang="en-GB" sz="900">
                          <a:solidFill>
                            <a:schemeClr val="bg1"/>
                          </a:solidFill>
                        </a:rPr>
                        <a:t>Annual Management Fee (Incl. VAT)</a:t>
                      </a:r>
                    </a:p>
                  </a:txBody>
                  <a:tcPr/>
                </a:tc>
                <a:tc>
                  <a:txBody>
                    <a:bodyPr/>
                    <a:lstStyle/>
                    <a:p>
                      <a:pPr algn="ctr"/>
                      <a:r>
                        <a:rPr lang="en-GB" sz="900">
                          <a:solidFill>
                            <a:schemeClr val="bg1"/>
                          </a:solidFill>
                        </a:rPr>
                        <a:t>1 %</a:t>
                      </a:r>
                    </a:p>
                  </a:txBody>
                  <a:tcPr/>
                </a:tc>
                <a:extLst>
                  <a:ext uri="{0D108BD9-81ED-4DB2-BD59-A6C34878D82A}">
                    <a16:rowId xmlns:a16="http://schemas.microsoft.com/office/drawing/2014/main" val="978931475"/>
                  </a:ext>
                </a:extLst>
              </a:tr>
              <a:tr h="274320">
                <a:tc>
                  <a:txBody>
                    <a:bodyPr/>
                    <a:lstStyle/>
                    <a:p>
                      <a:r>
                        <a:rPr lang="en-GB" sz="900">
                          <a:solidFill>
                            <a:schemeClr val="bg1"/>
                          </a:solidFill>
                        </a:rPr>
                        <a:t>Performance Fee</a:t>
                      </a:r>
                    </a:p>
                  </a:txBody>
                  <a:tcPr/>
                </a:tc>
                <a:tc>
                  <a:txBody>
                    <a:bodyPr/>
                    <a:lstStyle/>
                    <a:p>
                      <a:pPr algn="ctr"/>
                      <a:r>
                        <a:rPr lang="en-GB" sz="900">
                          <a:solidFill>
                            <a:schemeClr val="bg1"/>
                          </a:solidFill>
                        </a:rPr>
                        <a:t>None</a:t>
                      </a:r>
                    </a:p>
                  </a:txBody>
                  <a:tcPr/>
                </a:tc>
                <a:extLst>
                  <a:ext uri="{0D108BD9-81ED-4DB2-BD59-A6C34878D82A}">
                    <a16:rowId xmlns:a16="http://schemas.microsoft.com/office/drawing/2014/main" val="3512116622"/>
                  </a:ext>
                </a:extLst>
              </a:tr>
              <a:tr h="365760">
                <a:tc>
                  <a:txBody>
                    <a:bodyPr/>
                    <a:lstStyle/>
                    <a:p>
                      <a:r>
                        <a:rPr lang="en-GB" sz="900" dirty="0">
                          <a:solidFill>
                            <a:schemeClr val="bg1"/>
                          </a:solidFill>
                        </a:rPr>
                        <a:t>Transaction Costs &amp; Commissions</a:t>
                      </a:r>
                    </a:p>
                  </a:txBody>
                  <a:tcPr/>
                </a:tc>
                <a:tc>
                  <a:txBody>
                    <a:bodyPr/>
                    <a:lstStyle/>
                    <a:p>
                      <a:pPr algn="ctr"/>
                      <a:r>
                        <a:rPr lang="fi-FI" sz="900" dirty="0">
                          <a:solidFill>
                            <a:schemeClr val="bg1"/>
                          </a:solidFill>
                        </a:rPr>
                        <a:t>See schedule</a:t>
                      </a:r>
                      <a:endParaRPr lang="en-GB" sz="900" dirty="0">
                        <a:solidFill>
                          <a:schemeClr val="bg1"/>
                        </a:solidFill>
                      </a:endParaRPr>
                    </a:p>
                  </a:txBody>
                  <a:tcPr/>
                </a:tc>
                <a:extLst>
                  <a:ext uri="{0D108BD9-81ED-4DB2-BD59-A6C34878D82A}">
                    <a16:rowId xmlns:a16="http://schemas.microsoft.com/office/drawing/2014/main" val="775751832"/>
                  </a:ext>
                </a:extLst>
              </a:tr>
            </a:tbl>
          </a:graphicData>
        </a:graphic>
      </p:graphicFrame>
      <p:grpSp>
        <p:nvGrpSpPr>
          <p:cNvPr id="1093" name="Group 1092">
            <a:extLst>
              <a:ext uri="{FF2B5EF4-FFF2-40B4-BE49-F238E27FC236}">
                <a16:creationId xmlns:a16="http://schemas.microsoft.com/office/drawing/2014/main" id="{187DFE29-FCB0-4BE8-C371-3A8A6037B1EA}"/>
              </a:ext>
            </a:extLst>
          </p:cNvPr>
          <p:cNvGrpSpPr/>
          <p:nvPr/>
        </p:nvGrpSpPr>
        <p:grpSpPr>
          <a:xfrm>
            <a:off x="3483000" y="6681577"/>
            <a:ext cx="3082392" cy="232459"/>
            <a:chOff x="292608" y="1013780"/>
            <a:chExt cx="3082392" cy="232459"/>
          </a:xfrm>
        </p:grpSpPr>
        <p:cxnSp>
          <p:nvCxnSpPr>
            <p:cNvPr id="1094" name="Straight Connector 1093">
              <a:extLst>
                <a:ext uri="{FF2B5EF4-FFF2-40B4-BE49-F238E27FC236}">
                  <a16:creationId xmlns:a16="http://schemas.microsoft.com/office/drawing/2014/main" id="{8A053FAC-BB54-C262-46C1-72164E63F0EF}"/>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95" name="Rectangle 1094">
              <a:extLst>
                <a:ext uri="{FF2B5EF4-FFF2-40B4-BE49-F238E27FC236}">
                  <a16:creationId xmlns:a16="http://schemas.microsoft.com/office/drawing/2014/main" id="{253824F6-E8DB-AE96-9FCC-4482C5BC8A1E}"/>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Custody arrangement</a:t>
              </a:r>
              <a:endParaRPr lang="en-GB" sz="1000" b="1" dirty="0">
                <a:solidFill>
                  <a:schemeClr val="bg1"/>
                </a:solidFill>
                <a:latin typeface="Bierstadt"/>
              </a:endParaRPr>
            </a:p>
          </p:txBody>
        </p:sp>
      </p:grpSp>
      <p:sp>
        <p:nvSpPr>
          <p:cNvPr id="1096" name="TextBox 1095">
            <a:extLst>
              <a:ext uri="{FF2B5EF4-FFF2-40B4-BE49-F238E27FC236}">
                <a16:creationId xmlns:a16="http://schemas.microsoft.com/office/drawing/2014/main" id="{DC300D0E-2855-8FE4-958F-C4D783103B35}"/>
              </a:ext>
            </a:extLst>
          </p:cNvPr>
          <p:cNvSpPr txBox="1"/>
          <p:nvPr/>
        </p:nvSpPr>
        <p:spPr>
          <a:xfrm>
            <a:off x="3483000" y="6914036"/>
            <a:ext cx="3082392" cy="92333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ll securities are held with CITI Group in the name of Saxo Bank and segregated in the name of DMA Mauritius. A full sub-register is maintained for the beneficial owner of the assets, which are reported live via the available platforms. Positions are settled daily and reconciled against the custodian.</a:t>
            </a:r>
          </a:p>
        </p:txBody>
      </p:sp>
      <p:pic>
        <p:nvPicPr>
          <p:cNvPr id="1097" name="Picture 1096">
            <a:extLst>
              <a:ext uri="{FF2B5EF4-FFF2-40B4-BE49-F238E27FC236}">
                <a16:creationId xmlns:a16="http://schemas.microsoft.com/office/drawing/2014/main" id="{0034B60D-EAD9-43F5-0AC7-B3BF7ADD7D6C}"/>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Lst>
          </a:blip>
          <a:stretch>
            <a:fillRect/>
          </a:stretch>
        </p:blipFill>
        <p:spPr>
          <a:xfrm>
            <a:off x="4176124" y="7694086"/>
            <a:ext cx="268440" cy="174381"/>
          </a:xfrm>
          <a:prstGeom prst="rect">
            <a:avLst/>
          </a:prstGeom>
        </p:spPr>
      </p:pic>
      <p:grpSp>
        <p:nvGrpSpPr>
          <p:cNvPr id="8" name="Group 7">
            <a:extLst>
              <a:ext uri="{FF2B5EF4-FFF2-40B4-BE49-F238E27FC236}">
                <a16:creationId xmlns:a16="http://schemas.microsoft.com/office/drawing/2014/main" id="{CA34CC3D-ECA9-657D-4BE5-07CA9BF1A4DF}"/>
              </a:ext>
            </a:extLst>
          </p:cNvPr>
          <p:cNvGrpSpPr/>
          <p:nvPr/>
        </p:nvGrpSpPr>
        <p:grpSpPr>
          <a:xfrm>
            <a:off x="3483000" y="5394543"/>
            <a:ext cx="3082392" cy="232459"/>
            <a:chOff x="292608" y="1013780"/>
            <a:chExt cx="3082392" cy="232459"/>
          </a:xfrm>
        </p:grpSpPr>
        <p:cxnSp>
          <p:nvCxnSpPr>
            <p:cNvPr id="9" name="Straight Connector 8">
              <a:extLst>
                <a:ext uri="{FF2B5EF4-FFF2-40B4-BE49-F238E27FC236}">
                  <a16:creationId xmlns:a16="http://schemas.microsoft.com/office/drawing/2014/main" id="{62287BB3-EB82-E44D-C789-987308439917}"/>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2993028-7690-328C-2008-71AD6E6070D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Risk profile: Moderate to high</a:t>
              </a:r>
            </a:p>
          </p:txBody>
        </p:sp>
      </p:grpSp>
      <p:sp>
        <p:nvSpPr>
          <p:cNvPr id="15" name="TextBox 14">
            <a:extLst>
              <a:ext uri="{FF2B5EF4-FFF2-40B4-BE49-F238E27FC236}">
                <a16:creationId xmlns:a16="http://schemas.microsoft.com/office/drawing/2014/main" id="{BB650FBF-C6E6-1B4B-B096-B08DF6A76B9F}"/>
              </a:ext>
            </a:extLst>
          </p:cNvPr>
          <p:cNvSpPr txBox="1"/>
          <p:nvPr/>
        </p:nvSpPr>
        <p:spPr>
          <a:xfrm>
            <a:off x="3482999" y="5640856"/>
            <a:ext cx="3082392" cy="10618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portfolio invests exclusively in equiti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Suitable for medium- to long-term investment horiz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Exposed to market risk and broader economic fluctu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Offshore holdings may introduce additional currency risk.</a:t>
            </a:r>
          </a:p>
        </p:txBody>
      </p:sp>
      <p:graphicFrame>
        <p:nvGraphicFramePr>
          <p:cNvPr id="19" name="PIE_SECTOR">
            <a:extLst>
              <a:ext uri="{FF2B5EF4-FFF2-40B4-BE49-F238E27FC236}">
                <a16:creationId xmlns:a16="http://schemas.microsoft.com/office/drawing/2014/main" id="{D2CBA324-1F53-F6AE-B7AD-2A492A5AEB03}"/>
              </a:ext>
            </a:extLst>
          </p:cNvPr>
          <p:cNvGraphicFramePr/>
          <p:nvPr>
            <p:extLst>
              <p:ext uri="{D42A27DB-BD31-4B8C-83A1-F6EECF244321}">
                <p14:modId xmlns:p14="http://schemas.microsoft.com/office/powerpoint/2010/main" val="2313099284"/>
              </p:ext>
            </p:extLst>
          </p:nvPr>
        </p:nvGraphicFramePr>
        <p:xfrm>
          <a:off x="179636" y="1369215"/>
          <a:ext cx="3308336" cy="2599281"/>
        </p:xfrm>
        <a:graphic>
          <a:graphicData uri="http://schemas.openxmlformats.org/drawingml/2006/chart">
            <c:chart xmlns:c="http://schemas.openxmlformats.org/drawingml/2006/chart" xmlns:r="http://schemas.openxmlformats.org/officeDocument/2006/relationships" r:id="rId48"/>
          </a:graphicData>
        </a:graphic>
      </p:graphicFrame>
      <p:graphicFrame>
        <p:nvGraphicFramePr>
          <p:cNvPr id="24" name="PIE_REGION">
            <a:extLst>
              <a:ext uri="{FF2B5EF4-FFF2-40B4-BE49-F238E27FC236}">
                <a16:creationId xmlns:a16="http://schemas.microsoft.com/office/drawing/2014/main" id="{5A1279A8-4FC1-1BCB-FBA4-B5D2FDD41E17}"/>
              </a:ext>
            </a:extLst>
          </p:cNvPr>
          <p:cNvGraphicFramePr/>
          <p:nvPr>
            <p:extLst>
              <p:ext uri="{D42A27DB-BD31-4B8C-83A1-F6EECF244321}">
                <p14:modId xmlns:p14="http://schemas.microsoft.com/office/powerpoint/2010/main" val="2252226221"/>
              </p:ext>
            </p:extLst>
          </p:nvPr>
        </p:nvGraphicFramePr>
        <p:xfrm>
          <a:off x="3370028" y="1369215"/>
          <a:ext cx="3308336" cy="2599281"/>
        </p:xfrm>
        <a:graphic>
          <a:graphicData uri="http://schemas.openxmlformats.org/drawingml/2006/chart">
            <c:chart xmlns:c="http://schemas.openxmlformats.org/drawingml/2006/chart" xmlns:r="http://schemas.openxmlformats.org/officeDocument/2006/relationships" r:id="rId49"/>
          </a:graphicData>
        </a:graphic>
      </p:graphicFrame>
    </p:spTree>
    <p:extLst>
      <p:ext uri="{BB962C8B-B14F-4D97-AF65-F5344CB8AC3E}">
        <p14:creationId xmlns:p14="http://schemas.microsoft.com/office/powerpoint/2010/main" val="2308560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Kukula capital">
      <a:dk1>
        <a:srgbClr val="000000"/>
      </a:dk1>
      <a:lt1>
        <a:srgbClr val="FFFFFF"/>
      </a:lt1>
      <a:dk2>
        <a:srgbClr val="A6A6A6"/>
      </a:dk2>
      <a:lt2>
        <a:srgbClr val="F2F2F2"/>
      </a:lt2>
      <a:accent1>
        <a:srgbClr val="466835"/>
      </a:accent1>
      <a:accent2>
        <a:srgbClr val="A6A6A6"/>
      </a:accent2>
      <a:accent3>
        <a:srgbClr val="F2F2F2"/>
      </a:accent3>
      <a:accent4>
        <a:srgbClr val="E2F0D9"/>
      </a:accent4>
      <a:accent5>
        <a:srgbClr val="549E39"/>
      </a:accent5>
      <a:accent6>
        <a:srgbClr val="385723"/>
      </a:accent6>
      <a:hlink>
        <a:srgbClr val="000000"/>
      </a:hlink>
      <a:folHlink>
        <a:srgbClr val="000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79DDE9-9681-4839-A726-05A6EE002B45}">
  <we:reference id="wa104381063" version="1.0.0.1" store="en-US" storeType="OMEX"/>
  <we:alternateReferences>
    <we:reference id="WA104381063" version="1.0.0.1" store="da-DK"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3443</TotalTime>
  <Words>1064</Words>
  <Application>Microsoft Office PowerPoint</Application>
  <PresentationFormat>A4 Paper (210x297 mm)</PresentationFormat>
  <Paragraphs>279</Paragraphs>
  <Slides>2</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vt:i4>
      </vt:variant>
    </vt:vector>
  </HeadingPairs>
  <TitlesOfParts>
    <vt:vector size="9" baseType="lpstr">
      <vt:lpstr>Arial</vt:lpstr>
      <vt:lpstr>Bierstadt</vt:lpstr>
      <vt:lpstr>Calibri</vt:lpstr>
      <vt:lpstr>Calibri Light</vt:lpstr>
      <vt:lpstr>Helvetica</vt:lpstr>
      <vt:lpstr>Skeena</vt:lpstr>
      <vt:lpstr>Office Them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us Bak</dc:creator>
  <cp:lastModifiedBy>Henning Olweus - Implement Consulting Group</cp:lastModifiedBy>
  <cp:revision>22</cp:revision>
  <dcterms:created xsi:type="dcterms:W3CDTF">2021-05-24T08:47:30Z</dcterms:created>
  <dcterms:modified xsi:type="dcterms:W3CDTF">2025-10-29T13:48:59Z</dcterms:modified>
</cp:coreProperties>
</file>